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1"/>
  </p:notesMasterIdLst>
  <p:handoutMasterIdLst>
    <p:handoutMasterId r:id="rId32"/>
  </p:handoutMasterIdLst>
  <p:sldIdLst>
    <p:sldId id="257" r:id="rId2"/>
    <p:sldId id="336" r:id="rId3"/>
    <p:sldId id="771" r:id="rId4"/>
    <p:sldId id="937" r:id="rId5"/>
    <p:sldId id="773" r:id="rId6"/>
    <p:sldId id="934" r:id="rId7"/>
    <p:sldId id="932" r:id="rId8"/>
    <p:sldId id="870" r:id="rId9"/>
    <p:sldId id="913" r:id="rId10"/>
    <p:sldId id="924" r:id="rId11"/>
    <p:sldId id="914" r:id="rId12"/>
    <p:sldId id="918" r:id="rId13"/>
    <p:sldId id="915" r:id="rId14"/>
    <p:sldId id="917" r:id="rId15"/>
    <p:sldId id="920" r:id="rId16"/>
    <p:sldId id="935" r:id="rId17"/>
    <p:sldId id="936" r:id="rId18"/>
    <p:sldId id="919" r:id="rId19"/>
    <p:sldId id="925" r:id="rId20"/>
    <p:sldId id="940" r:id="rId21"/>
    <p:sldId id="938" r:id="rId22"/>
    <p:sldId id="874" r:id="rId23"/>
    <p:sldId id="825" r:id="rId24"/>
    <p:sldId id="921" r:id="rId25"/>
    <p:sldId id="922" r:id="rId26"/>
    <p:sldId id="836" r:id="rId27"/>
    <p:sldId id="884" r:id="rId28"/>
    <p:sldId id="927" r:id="rId29"/>
    <p:sldId id="801" r:id="rId30"/>
  </p:sldIdLst>
  <p:sldSz cx="9144000" cy="5143500" type="screen16x9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anley.Ma" initials="S" lastIdx="1" clrIdx="0">
    <p:extLst/>
  </p:cmAuthor>
  <p:cmAuthor id="2" name="Sherry.Li" initials="S" lastIdx="0" clrIdx="1">
    <p:extLst/>
  </p:cmAuthor>
  <p:cmAuthor id="3" name="Young.He" initials="Y" lastIdx="1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FF"/>
    <a:srgbClr val="D7000F"/>
    <a:srgbClr val="009900"/>
    <a:srgbClr val="E9EDF4"/>
    <a:srgbClr val="0099CC"/>
    <a:srgbClr val="993E3C"/>
    <a:srgbClr val="AE4845"/>
    <a:srgbClr val="1E7C49"/>
    <a:srgbClr val="717071"/>
    <a:srgbClr val="55B7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中度样式 4 - 强调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AF606853-7671-496A-8E4F-DF71F8EC918B}" styleName="深色样式 1 - 强调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46F890A9-2807-4EBB-B81D-B2AA78EC7F39}" styleName="深色样式 2 - 强调 5/强调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1EBBBCC-DAD2-459C-BE2E-F6DE35CF9A28}" styleName="深色样式 2 - 强调 3/强调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5202B0CA-FC54-4496-8BCA-5EF66A818D29}" styleName="深色样式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3296810-A885-4BE3-A3E7-6D5BEEA58F35}" styleName="中度样式 2 - 强调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中度样式 2 - 强调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中度样式 2 - 强调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中度样式 2 - 强调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中度样式 2 - 强调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998" autoAdjust="0"/>
    <p:restoredTop sz="95194" autoAdjust="0"/>
  </p:normalViewPr>
  <p:slideViewPr>
    <p:cSldViewPr snapToObjects="1">
      <p:cViewPr varScale="1">
        <p:scale>
          <a:sx n="110" d="100"/>
          <a:sy n="110" d="100"/>
        </p:scale>
        <p:origin x="643" y="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53" d="100"/>
          <a:sy n="53" d="100"/>
        </p:scale>
        <p:origin x="2844" y="78"/>
      </p:cViewPr>
      <p:guideLst>
        <p:guide orient="horz" pos="2880"/>
        <p:guide pos="2160"/>
      </p:guideLst>
    </p:cSldViewPr>
  </p:notesViewPr>
  <p:gridSpacing cx="38405" cy="384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536583-6C50-4A80-99F6-ACD385758B9D}" type="datetimeFigureOut">
              <a:rPr lang="zh-CN" altLang="en-US" smtClean="0"/>
              <a:t>2023/4/10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D27793-EB67-4A18-9CAC-BB417948821F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760484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7978DD8-1234-4E4C-9C15-564B6C518831}" type="datetimeFigureOut">
              <a:rPr lang="en-US" smtClean="0"/>
              <a:t>4/10/2023</a:t>
            </a:fld>
            <a:endParaRPr 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14D396-ADC9-4DD1-908D-62D3379E40F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26733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68589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7724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29266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975906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58970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654909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045413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5534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752606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190221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2863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06673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015815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E98537-6FC7-4116-97B4-9AB9C38D3C64}" type="slidenum">
              <a:rPr lang="zh-CN" altLang="en-US" smtClean="0">
                <a:solidFill>
                  <a:prstClr val="black"/>
                </a:solidFill>
              </a:rPr>
              <a:pPr/>
              <a:t>2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50133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48014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4080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48219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52663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45999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24624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altLang="zh-CN" baseline="0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14D396-ADC9-4DD1-908D-62D3379E40F4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04591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 CORPORAT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1"/>
          <p:cNvSpPr>
            <a:spLocks noGrp="1"/>
          </p:cNvSpPr>
          <p:nvPr>
            <p:ph type="ctrTitle"/>
          </p:nvPr>
        </p:nvSpPr>
        <p:spPr>
          <a:xfrm>
            <a:off x="2339752" y="3509445"/>
            <a:ext cx="5774266" cy="430457"/>
          </a:xfrm>
        </p:spPr>
        <p:txBody>
          <a:bodyPr>
            <a:noAutofit/>
          </a:bodyPr>
          <a:lstStyle>
            <a:lvl1pPr>
              <a:defRPr>
                <a:effectLst/>
                <a:latin typeface="+mn-lt"/>
              </a:defRPr>
            </a:lvl1pPr>
          </a:lstStyle>
          <a:p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STAR PRO Light"/>
            </a:endParaRPr>
          </a:p>
        </p:txBody>
      </p:sp>
    </p:spTree>
    <p:extLst>
      <p:ext uri="{BB962C8B-B14F-4D97-AF65-F5344CB8AC3E}">
        <p14:creationId xmlns:p14="http://schemas.microsoft.com/office/powerpoint/2010/main" val="2186626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395536" y="123478"/>
            <a:ext cx="2952328" cy="493563"/>
          </a:xfrm>
        </p:spPr>
        <p:txBody>
          <a:bodyPr/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7331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1"/>
          <p:cNvSpPr>
            <a:spLocks noGrp="1"/>
          </p:cNvSpPr>
          <p:nvPr>
            <p:ph type="title"/>
          </p:nvPr>
        </p:nvSpPr>
        <p:spPr>
          <a:xfrm>
            <a:off x="395536" y="123478"/>
            <a:ext cx="2952328" cy="493563"/>
          </a:xfrm>
        </p:spPr>
        <p:txBody>
          <a:bodyPr/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5" name="内容占位符 2"/>
          <p:cNvSpPr>
            <a:spLocks noGrp="1"/>
          </p:cNvSpPr>
          <p:nvPr>
            <p:ph idx="1"/>
          </p:nvPr>
        </p:nvSpPr>
        <p:spPr>
          <a:xfrm>
            <a:off x="1259632" y="1491630"/>
            <a:ext cx="6696744" cy="20882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zh-CN" alt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TSTAR PRO Light"/>
                <a:cs typeface="CordiaUPC" panose="020B0304020202020204" pitchFamily="34" charset="-34"/>
              </a:defRPr>
            </a:lvl1pPr>
          </a:lstStyle>
          <a:p>
            <a:pPr lvl="0"/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272727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5536" y="123478"/>
            <a:ext cx="2952328" cy="493563"/>
          </a:xfrm>
        </p:spPr>
        <p:txBody>
          <a:bodyPr/>
          <a:lstStyle>
            <a:lvl1pP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内容占位符 2"/>
          <p:cNvSpPr>
            <a:spLocks noGrp="1"/>
          </p:cNvSpPr>
          <p:nvPr>
            <p:ph idx="1" hasCustomPrompt="1"/>
          </p:nvPr>
        </p:nvSpPr>
        <p:spPr>
          <a:xfrm>
            <a:off x="457200" y="843558"/>
            <a:ext cx="8229600" cy="367240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altLang="zh-CN" dirty="0"/>
              <a:t>Click here to edit master text style</a:t>
            </a:r>
            <a:endParaRPr lang="zh-CN" altLang="en-US" dirty="0"/>
          </a:p>
          <a:p>
            <a:pPr lvl="1"/>
            <a:r>
              <a:rPr lang="en-US" altLang="zh-CN" dirty="0"/>
              <a:t>The second step </a:t>
            </a:r>
            <a:endParaRPr lang="zh-CN" altLang="en-US" dirty="0"/>
          </a:p>
          <a:p>
            <a:pPr lvl="2"/>
            <a:r>
              <a:rPr lang="en-US" altLang="zh-CN" dirty="0"/>
              <a:t>The third step</a:t>
            </a:r>
            <a:endParaRPr lang="zh-CN" altLang="en-US" dirty="0"/>
          </a:p>
          <a:p>
            <a:pPr lvl="3"/>
            <a:r>
              <a:rPr lang="en-US" altLang="zh-CN" dirty="0"/>
              <a:t>The fourth step</a:t>
            </a:r>
          </a:p>
          <a:p>
            <a:pPr lvl="4"/>
            <a:r>
              <a:rPr lang="en-US" altLang="zh-CN" dirty="0"/>
              <a:t>The fifth step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640345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CORPOR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801841" y="3798859"/>
            <a:ext cx="5774266" cy="430457"/>
          </a:xfrm>
          <a:prstGeom prst="rect">
            <a:avLst/>
          </a:prstGeom>
        </p:spPr>
        <p:txBody>
          <a:bodyPr/>
          <a:lstStyle>
            <a:lvl1pPr algn="l">
              <a:defRPr sz="2800" b="0" i="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/>
              </a:defRPr>
            </a:lvl1pPr>
          </a:lstStyle>
          <a:p>
            <a:r>
              <a:rPr lang="it-IT" dirty="0"/>
              <a:t>Fare clic per modificare sti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582740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0" y="5105401"/>
            <a:ext cx="9144000" cy="38100"/>
          </a:xfrm>
          <a:prstGeom prst="rect">
            <a:avLst/>
          </a:prstGeom>
          <a:solidFill>
            <a:srgbClr val="D71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941" tIns="34470" rIns="68941" bIns="34470" rtlCol="0" anchor="ctr"/>
          <a:lstStyle/>
          <a:p>
            <a:pPr algn="ctr" defTabSz="685800"/>
            <a:endParaRPr lang="zh-CN" altLang="en-US" dirty="0">
              <a:solidFill>
                <a:prstClr val="white"/>
              </a:solidFill>
              <a:latin typeface="TSTAR PRO Light" panose="02000806030000020004" pitchFamily="50" charset="0"/>
            </a:endParaRPr>
          </a:p>
        </p:txBody>
      </p:sp>
      <p:sp>
        <p:nvSpPr>
          <p:cNvPr id="10" name="内容占位符 8"/>
          <p:cNvSpPr>
            <a:spLocks noGrp="1"/>
          </p:cNvSpPr>
          <p:nvPr>
            <p:ph sz="quarter" idx="10"/>
          </p:nvPr>
        </p:nvSpPr>
        <p:spPr>
          <a:xfrm>
            <a:off x="678658" y="817962"/>
            <a:ext cx="3117056" cy="4031456"/>
          </a:xfrm>
          <a:prstGeom prst="rect">
            <a:avLst/>
          </a:prstGeom>
        </p:spPr>
        <p:txBody>
          <a:bodyPr lIns="51706" tIns="25853" rIns="51706" bIns="25853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11" name="图片占位符 10"/>
          <p:cNvSpPr>
            <a:spLocks noGrp="1"/>
          </p:cNvSpPr>
          <p:nvPr>
            <p:ph type="pic" sz="quarter" idx="11"/>
          </p:nvPr>
        </p:nvSpPr>
        <p:spPr>
          <a:xfrm>
            <a:off x="3955258" y="817962"/>
            <a:ext cx="4766073" cy="1772840"/>
          </a:xfrm>
          <a:prstGeom prst="rect">
            <a:avLst/>
          </a:prstGeom>
        </p:spPr>
        <p:txBody>
          <a:bodyPr lIns="51706" tIns="25853" rIns="51706" bIns="25853"/>
          <a:lstStyle/>
          <a:p>
            <a:endParaRPr lang="zh-CN" altLang="en-US"/>
          </a:p>
        </p:txBody>
      </p:sp>
      <p:sp>
        <p:nvSpPr>
          <p:cNvPr id="13" name="内容占位符 12"/>
          <p:cNvSpPr>
            <a:spLocks noGrp="1"/>
          </p:cNvSpPr>
          <p:nvPr>
            <p:ph sz="quarter" idx="12" hasCustomPrompt="1"/>
          </p:nvPr>
        </p:nvSpPr>
        <p:spPr>
          <a:xfrm>
            <a:off x="678658" y="201323"/>
            <a:ext cx="3657383" cy="401241"/>
          </a:xfrm>
          <a:prstGeom prst="rect">
            <a:avLst/>
          </a:prstGeom>
        </p:spPr>
        <p:txBody>
          <a:bodyPr lIns="51706" tIns="25853" rIns="51706" bIns="25853"/>
          <a:lstStyle/>
          <a:p>
            <a:pPr lvl="0"/>
            <a:r>
              <a:rPr lang="zh-CN" altLang="en-US" dirty="0" smtClean="0"/>
              <a:t>单击此处编辑文本样式</a:t>
            </a:r>
          </a:p>
        </p:txBody>
      </p:sp>
      <p:sp>
        <p:nvSpPr>
          <p:cNvPr id="14" name="图片占位符 10"/>
          <p:cNvSpPr>
            <a:spLocks noGrp="1"/>
          </p:cNvSpPr>
          <p:nvPr>
            <p:ph type="pic" sz="quarter" idx="13"/>
          </p:nvPr>
        </p:nvSpPr>
        <p:spPr>
          <a:xfrm>
            <a:off x="3955258" y="3076254"/>
            <a:ext cx="4766073" cy="1772840"/>
          </a:xfrm>
          <a:prstGeom prst="rect">
            <a:avLst/>
          </a:prstGeom>
        </p:spPr>
        <p:txBody>
          <a:bodyPr lIns="51706" tIns="25853" rIns="51706" bIns="25853"/>
          <a:lstStyle/>
          <a:p>
            <a:endParaRPr lang="zh-CN" altLang="en-US"/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4605" y="239331"/>
            <a:ext cx="1238246" cy="159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7440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jp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56557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altLang="zh-CN" dirty="0"/>
              <a:t>Click here to edit master title style</a:t>
            </a:r>
            <a:endParaRPr lang="zh-CN" altLang="en-US" dirty="0"/>
          </a:p>
        </p:txBody>
      </p:sp>
      <p:sp>
        <p:nvSpPr>
          <p:cNvPr id="10" name="Rektangel 13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 rot="16200000">
            <a:off x="8902774" y="4841594"/>
            <a:ext cx="229137" cy="277101"/>
          </a:xfrm>
          <a:prstGeom prst="rect">
            <a:avLst/>
          </a:prstGeom>
          <a:solidFill>
            <a:srgbClr val="D8192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prstClr val="white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>
            <p:custDataLst>
              <p:tags r:id="rId9"/>
            </p:custDataLst>
          </p:nvPr>
        </p:nvSpPr>
        <p:spPr bwMode="gray">
          <a:xfrm>
            <a:off x="8878791" y="4847751"/>
            <a:ext cx="265209" cy="249385"/>
          </a:xfrm>
          <a:prstGeom prst="rect">
            <a:avLst/>
          </a:prstGeom>
          <a:noFill/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A72F2ED-C0F1-A14B-BA46-C5847C658EB2}" type="slidenum">
              <a:rPr lang="en-US" sz="1050" smtClean="0">
                <a:solidFill>
                  <a:prstClr val="white"/>
                </a:solidFill>
                <a:latin typeface="+mn-lt"/>
                <a:cs typeface="Arial" panose="020B0604020202020204" pitchFamily="34" charset="0"/>
              </a:rPr>
              <a:pPr/>
              <a:t>‹#›</a:t>
            </a:fld>
            <a:endParaRPr lang="en-US" sz="1050" dirty="0">
              <a:solidFill>
                <a:prstClr val="white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13" name="文本占位符 12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 dirty="0"/>
              <a:t>Click here to edit master text style</a:t>
            </a:r>
            <a:endParaRPr lang="zh-CN" altLang="en-US" dirty="0"/>
          </a:p>
          <a:p>
            <a:pPr lvl="1"/>
            <a:r>
              <a:rPr lang="en-US" altLang="zh-CN" dirty="0"/>
              <a:t>The second step </a:t>
            </a:r>
            <a:endParaRPr lang="zh-CN" altLang="en-US" dirty="0"/>
          </a:p>
          <a:p>
            <a:pPr lvl="2"/>
            <a:r>
              <a:rPr lang="en-US" altLang="zh-CN" dirty="0"/>
              <a:t>The third step</a:t>
            </a:r>
            <a:endParaRPr lang="zh-CN" altLang="en-US" dirty="0"/>
          </a:p>
          <a:p>
            <a:pPr lvl="3"/>
            <a:r>
              <a:rPr lang="en-US" altLang="zh-CN" dirty="0"/>
              <a:t>The fourth step</a:t>
            </a:r>
          </a:p>
          <a:p>
            <a:pPr lvl="4"/>
            <a:r>
              <a:rPr lang="en-US" altLang="zh-CN" dirty="0"/>
              <a:t>The fifth step</a:t>
            </a:r>
            <a:endParaRPr lang="zh-CN" altLang="en-US" dirty="0"/>
          </a:p>
        </p:txBody>
      </p:sp>
      <p:sp>
        <p:nvSpPr>
          <p:cNvPr id="3" name="文本框 2"/>
          <p:cNvSpPr txBox="1"/>
          <p:nvPr userDrawn="1"/>
        </p:nvSpPr>
        <p:spPr>
          <a:xfrm>
            <a:off x="270640" y="4760835"/>
            <a:ext cx="2227490" cy="30777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sz="1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200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9" r:id="rId2"/>
    <p:sldLayoutId id="2147483670" r:id="rId3"/>
    <p:sldLayoutId id="2147483667" r:id="rId4"/>
    <p:sldLayoutId id="2147483660" r:id="rId5"/>
    <p:sldLayoutId id="2147483671" r:id="rId6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3200" b="1" kern="1200" baseline="0">
          <a:solidFill>
            <a:schemeClr val="bg1">
              <a:lumMod val="50000"/>
            </a:schemeClr>
          </a:solidFill>
          <a:latin typeface="+mn-lt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rgbClr val="808080"/>
        </a:buClr>
        <a:buSzPct val="60000"/>
        <a:buFont typeface="Wingdings" panose="05000000000000000000" pitchFamily="2" charset="2"/>
        <a:buChar char="l"/>
        <a:tabLst/>
        <a:defRPr sz="20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742950" marR="0" indent="-285750" algn="l" defTabSz="914400" rtl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Tx/>
        <a:buSzPct val="50000"/>
        <a:buFont typeface="Wingdings" panose="05000000000000000000" pitchFamily="2" charset="2"/>
        <a:buChar char="p"/>
        <a:tabLst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143000" marR="0" indent="-228600" algn="l" defTabSz="914400" rtl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Tx/>
        <a:buSzPct val="50000"/>
        <a:buFont typeface="Wingdings" panose="05000000000000000000" pitchFamily="2" charset="2"/>
        <a:buChar char="n"/>
        <a:tabLst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1600200" marR="0" indent="-228600" algn="l" defTabSz="914400" rtl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>
          <a:srgbClr val="000000"/>
        </a:buClr>
        <a:buSzPct val="100000"/>
        <a:buFont typeface="Arial" panose="020B0604020202020204" pitchFamily="34" charset="0"/>
        <a:buChar char="−"/>
        <a:tabLst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2057400" marR="0" indent="-228600" algn="l" defTabSz="914400" rtl="0" eaLnBrk="0" fontAlgn="base" latinLnBrk="0" hangingPunct="0">
        <a:lnSpc>
          <a:spcPct val="100000"/>
        </a:lnSpc>
        <a:spcBef>
          <a:spcPct val="20000"/>
        </a:spcBef>
        <a:spcAft>
          <a:spcPct val="0"/>
        </a:spcAft>
        <a:buClrTx/>
        <a:buSzTx/>
        <a:buFont typeface="Arial" panose="020B0604020202020204" pitchFamily="34" charset="0"/>
        <a:buChar char="~"/>
        <a:tabLst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4.jpeg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2.png"/><Relationship Id="rId5" Type="http://schemas.openxmlformats.org/officeDocument/2006/relationships/image" Target="../media/image41.png"/><Relationship Id="rId4" Type="http://schemas.openxmlformats.org/officeDocument/2006/relationships/image" Target="../media/image4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5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58.png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media" Target="../media/media2.mp4"/><Relationship Id="rId7" Type="http://schemas.openxmlformats.org/officeDocument/2006/relationships/image" Target="../media/image64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63.png"/><Relationship Id="rId5" Type="http://schemas.openxmlformats.org/officeDocument/2006/relationships/slideLayout" Target="../slideLayouts/slideLayout4.xml"/><Relationship Id="rId4" Type="http://schemas.openxmlformats.org/officeDocument/2006/relationships/video" Target="../media/media2.mp4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emf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8.png"/><Relationship Id="rId5" Type="http://schemas.openxmlformats.org/officeDocument/2006/relationships/image" Target="../media/image67.pn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18.wmf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251519" y="3800710"/>
            <a:ext cx="8280920" cy="430457"/>
          </a:xfrm>
        </p:spPr>
        <p:txBody>
          <a:bodyPr>
            <a:noAutofit/>
          </a:bodyPr>
          <a:lstStyle/>
          <a:p>
            <a:pPr algn="ctr"/>
            <a:r>
              <a:rPr lang="en-US" altLang="zh-CN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Simplified Arabic Fixed" panose="02070309020205020404" pitchFamily="49" charset="-78"/>
              </a:rPr>
              <a:t> Turnstile installation guide</a:t>
            </a:r>
            <a:r>
              <a:rPr lang="en-US" b="1" dirty="0" smtClean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Simplified Arabic Fixed" panose="02070309020205020404" pitchFamily="49" charset="-78"/>
              </a:rPr>
              <a:t> </a:t>
            </a:r>
            <a:endParaRPr lang="it-IT" b="1" dirty="0">
              <a:solidFill>
                <a:schemeClr val="tx1">
                  <a:lumMod val="75000"/>
                  <a:lumOff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Simplified Arabic Fixed" panose="02070309020205020404" pitchFamily="49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82076333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2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78937" y="150662"/>
            <a:ext cx="51517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stall turnstile</a:t>
            </a:r>
            <a:endParaRPr lang="en-US" altLang="zh-CN" sz="20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272908" y="2399626"/>
            <a:ext cx="234270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en-US" sz="1200" dirty="0"/>
              <a:t>Step 1.prepare tool </a:t>
            </a:r>
            <a:r>
              <a:rPr lang="en-US" altLang="en-US" sz="1200" dirty="0" smtClean="0"/>
              <a:t>:6 </a:t>
            </a:r>
            <a:r>
              <a:rPr lang="en-US" altLang="en-US" sz="1200" dirty="0"/>
              <a:t>expansion </a:t>
            </a:r>
            <a:r>
              <a:rPr lang="en-US" altLang="en-US" sz="1200" dirty="0" smtClean="0"/>
              <a:t>bolts, screw driver</a:t>
            </a:r>
            <a:endParaRPr lang="zh-CN" altLang="en-US" sz="1200" dirty="0"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027" y="927009"/>
            <a:ext cx="1860467" cy="1164532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2536535" y="2484501"/>
            <a:ext cx="268437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1200" dirty="0"/>
              <a:t>Step 2.Place the turnstile, smooth the cable through cable hole</a:t>
            </a:r>
            <a:endParaRPr lang="zh-CN" altLang="en-US" sz="1200" dirty="0"/>
          </a:p>
        </p:txBody>
      </p:sp>
      <p:sp>
        <p:nvSpPr>
          <p:cNvPr id="7" name="矩形 6"/>
          <p:cNvSpPr/>
          <p:nvPr/>
        </p:nvSpPr>
        <p:spPr>
          <a:xfrm>
            <a:off x="1795357" y="4791900"/>
            <a:ext cx="268835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1200" dirty="0"/>
              <a:t>Step </a:t>
            </a:r>
            <a:r>
              <a:rPr lang="en-US" altLang="zh-CN" sz="1200" dirty="0" smtClean="0"/>
              <a:t>4. put back side panel back</a:t>
            </a:r>
            <a:endParaRPr lang="zh-CN" altLang="en-US" sz="1200" dirty="0"/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83550" y="604169"/>
            <a:ext cx="1275712" cy="1848854"/>
          </a:xfrm>
          <a:prstGeom prst="rect">
            <a:avLst/>
          </a:prstGeom>
        </p:spPr>
      </p:pic>
      <p:sp>
        <p:nvSpPr>
          <p:cNvPr id="14" name="矩形 13"/>
          <p:cNvSpPr/>
          <p:nvPr/>
        </p:nvSpPr>
        <p:spPr>
          <a:xfrm>
            <a:off x="6338630" y="1274384"/>
            <a:ext cx="22274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Expansion bolt holes</a:t>
            </a:r>
            <a:endParaRPr lang="zh-CN" altLang="en-US" dirty="0">
              <a:solidFill>
                <a:srgbClr val="FF0000"/>
              </a:solidFill>
            </a:endParaRPr>
          </a:p>
        </p:txBody>
      </p:sp>
      <p:grpSp>
        <p:nvGrpSpPr>
          <p:cNvPr id="20" name="组合 19"/>
          <p:cNvGrpSpPr/>
          <p:nvPr/>
        </p:nvGrpSpPr>
        <p:grpSpPr>
          <a:xfrm rot="16200000">
            <a:off x="4869841" y="1325253"/>
            <a:ext cx="434595" cy="556357"/>
            <a:chOff x="0" y="2398"/>
            <a:chExt cx="599154" cy="855934"/>
          </a:xfrm>
        </p:grpSpPr>
        <p:sp>
          <p:nvSpPr>
            <p:cNvPr id="21" name="燕尾形 20"/>
            <p:cNvSpPr/>
            <p:nvPr/>
          </p:nvSpPr>
          <p:spPr>
            <a:xfrm rot="5400000">
              <a:off x="-128390" y="130788"/>
              <a:ext cx="855934" cy="599153"/>
            </a:xfrm>
            <a:prstGeom prst="chevron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燕尾形 4"/>
            <p:cNvSpPr txBox="1"/>
            <p:nvPr/>
          </p:nvSpPr>
          <p:spPr>
            <a:xfrm>
              <a:off x="1" y="301975"/>
              <a:ext cx="599153" cy="2567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1600" kern="1200" dirty="0"/>
            </a:p>
          </p:txBody>
        </p:sp>
      </p:grpSp>
      <p:sp>
        <p:nvSpPr>
          <p:cNvPr id="23" name="燕尾形 4"/>
          <p:cNvSpPr txBox="1"/>
          <p:nvPr/>
        </p:nvSpPr>
        <p:spPr>
          <a:xfrm rot="16200000">
            <a:off x="2678905" y="1660497"/>
            <a:ext cx="434594" cy="16690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160" tIns="10160" rIns="10160" bIns="10160" numCol="1" spcCol="127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zh-CN" altLang="en-US" sz="1600" kern="1200" dirty="0"/>
          </a:p>
        </p:txBody>
      </p:sp>
      <p:grpSp>
        <p:nvGrpSpPr>
          <p:cNvPr id="25" name="组合 24"/>
          <p:cNvGrpSpPr/>
          <p:nvPr/>
        </p:nvGrpSpPr>
        <p:grpSpPr>
          <a:xfrm rot="16200000">
            <a:off x="2527197" y="1313373"/>
            <a:ext cx="434595" cy="556357"/>
            <a:chOff x="0" y="2398"/>
            <a:chExt cx="599154" cy="855934"/>
          </a:xfrm>
        </p:grpSpPr>
        <p:sp>
          <p:nvSpPr>
            <p:cNvPr id="26" name="燕尾形 25"/>
            <p:cNvSpPr/>
            <p:nvPr/>
          </p:nvSpPr>
          <p:spPr>
            <a:xfrm rot="5400000">
              <a:off x="-128390" y="130788"/>
              <a:ext cx="855934" cy="599153"/>
            </a:xfrm>
            <a:prstGeom prst="chevron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燕尾形 4"/>
            <p:cNvSpPr txBox="1"/>
            <p:nvPr/>
          </p:nvSpPr>
          <p:spPr>
            <a:xfrm>
              <a:off x="1" y="301975"/>
              <a:ext cx="599153" cy="2567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1600" kern="1200" dirty="0"/>
            </a:p>
          </p:txBody>
        </p:sp>
      </p:grpSp>
      <p:sp>
        <p:nvSpPr>
          <p:cNvPr id="28" name="矩形 27"/>
          <p:cNvSpPr/>
          <p:nvPr/>
        </p:nvSpPr>
        <p:spPr>
          <a:xfrm>
            <a:off x="5569310" y="2647213"/>
            <a:ext cx="268835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1200" dirty="0"/>
              <a:t>Step 3.Pull cable through the hole, fix turnstile with </a:t>
            </a:r>
            <a:r>
              <a:rPr lang="en-US" altLang="zh-CN" sz="1200" dirty="0" err="1"/>
              <a:t>enpansion</a:t>
            </a:r>
            <a:r>
              <a:rPr lang="en-US" altLang="zh-CN" sz="1200" dirty="0"/>
              <a:t> bolts</a:t>
            </a:r>
            <a:endParaRPr lang="zh-CN" altLang="en-US" sz="1200" dirty="0"/>
          </a:p>
        </p:txBody>
      </p:sp>
      <p:pic>
        <p:nvPicPr>
          <p:cNvPr id="17" name="图片 1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39532" y="594503"/>
            <a:ext cx="1268825" cy="1846266"/>
          </a:xfrm>
          <a:prstGeom prst="rect">
            <a:avLst/>
          </a:prstGeom>
        </p:spPr>
      </p:pic>
      <p:sp>
        <p:nvSpPr>
          <p:cNvPr id="18" name="矩形 17"/>
          <p:cNvSpPr/>
          <p:nvPr/>
        </p:nvSpPr>
        <p:spPr>
          <a:xfrm>
            <a:off x="3668789" y="1373184"/>
            <a:ext cx="12634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Cable holes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94064" y="3003991"/>
            <a:ext cx="1267769" cy="1801404"/>
          </a:xfrm>
          <a:prstGeom prst="rect">
            <a:avLst/>
          </a:prstGeom>
        </p:spPr>
      </p:pic>
      <p:grpSp>
        <p:nvGrpSpPr>
          <p:cNvPr id="24" name="组合 23"/>
          <p:cNvGrpSpPr/>
          <p:nvPr/>
        </p:nvGrpSpPr>
        <p:grpSpPr>
          <a:xfrm rot="16200000">
            <a:off x="1226963" y="3583068"/>
            <a:ext cx="434595" cy="556357"/>
            <a:chOff x="0" y="2398"/>
            <a:chExt cx="599154" cy="855934"/>
          </a:xfrm>
        </p:grpSpPr>
        <p:sp>
          <p:nvSpPr>
            <p:cNvPr id="29" name="燕尾形 28"/>
            <p:cNvSpPr/>
            <p:nvPr/>
          </p:nvSpPr>
          <p:spPr>
            <a:xfrm rot="5400000">
              <a:off x="-128390" y="130788"/>
              <a:ext cx="855934" cy="599153"/>
            </a:xfrm>
            <a:prstGeom prst="chevron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0" name="燕尾形 4"/>
            <p:cNvSpPr txBox="1"/>
            <p:nvPr/>
          </p:nvSpPr>
          <p:spPr>
            <a:xfrm>
              <a:off x="1" y="301975"/>
              <a:ext cx="599153" cy="2567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1600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761852260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2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78937" y="150662"/>
            <a:ext cx="51517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mponents </a:t>
            </a:r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troduction</a:t>
            </a:r>
            <a:endParaRPr lang="en-US" altLang="zh-CN" sz="20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91880" y="1483199"/>
            <a:ext cx="4301359" cy="3147336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12335" y="859087"/>
            <a:ext cx="1561627" cy="2079771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4301597" y="1534815"/>
            <a:ext cx="483153" cy="1536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0" name="肘形连接符 9"/>
          <p:cNvCxnSpPr/>
          <p:nvPr/>
        </p:nvCxnSpPr>
        <p:spPr>
          <a:xfrm rot="10800000">
            <a:off x="4802431" y="1611626"/>
            <a:ext cx="2880379" cy="422457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矩形 13"/>
          <p:cNvSpPr/>
          <p:nvPr/>
        </p:nvSpPr>
        <p:spPr>
          <a:xfrm>
            <a:off x="3460610" y="1545630"/>
            <a:ext cx="650530" cy="15362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 dirty="0"/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5908" y="996117"/>
            <a:ext cx="1905972" cy="1162466"/>
          </a:xfrm>
          <a:prstGeom prst="rect">
            <a:avLst/>
          </a:prstGeom>
        </p:spPr>
      </p:pic>
      <p:cxnSp>
        <p:nvCxnSpPr>
          <p:cNvPr id="17" name="肘形连接符 16"/>
          <p:cNvCxnSpPr>
            <a:stCxn id="14" idx="1"/>
          </p:cNvCxnSpPr>
          <p:nvPr/>
        </p:nvCxnSpPr>
        <p:spPr>
          <a:xfrm rot="10800000" flipV="1">
            <a:off x="1792802" y="1622439"/>
            <a:ext cx="1667808" cy="80379"/>
          </a:xfrm>
          <a:prstGeom prst="bentConnector3">
            <a:avLst>
              <a:gd name="adj1" fmla="val 50000"/>
            </a:avLst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7457261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2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08874" y="190693"/>
            <a:ext cx="653429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re power &amp; network </a:t>
            </a:r>
            <a:r>
              <a:rPr lang="en-US" altLang="zh-CN" sz="2000" b="1" dirty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able of turnstile  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5314161" y="3421029"/>
            <a:ext cx="337741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/>
              <a:t>Pull out the network cable from the conduit through the cable hole and connect to </a:t>
            </a:r>
            <a:r>
              <a:rPr lang="en-US" altLang="zh-CN" sz="1600" dirty="0" err="1" smtClean="0"/>
              <a:t>PoE</a:t>
            </a:r>
            <a:r>
              <a:rPr lang="en-US" altLang="zh-CN" sz="1600" dirty="0" smtClean="0"/>
              <a:t> switch </a:t>
            </a:r>
            <a:endParaRPr lang="zh-CN" altLang="en-US" sz="1600" dirty="0"/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8989" y="1385563"/>
            <a:ext cx="2477158" cy="1757443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82180" y="1381195"/>
            <a:ext cx="2130157" cy="1761811"/>
          </a:xfrm>
          <a:prstGeom prst="rect">
            <a:avLst/>
          </a:prstGeom>
        </p:spPr>
      </p:pic>
      <p:sp>
        <p:nvSpPr>
          <p:cNvPr id="16" name="文本框 15"/>
          <p:cNvSpPr txBox="1"/>
          <p:nvPr/>
        </p:nvSpPr>
        <p:spPr>
          <a:xfrm>
            <a:off x="664933" y="3436184"/>
            <a:ext cx="363885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/>
              <a:t>Pull out the AC power cable from the conduit through the cable hole and connect to air switch </a:t>
            </a:r>
            <a:endParaRPr lang="zh-CN" altLang="en-US" sz="1600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576171" y="1268365"/>
            <a:ext cx="2455149" cy="1841362"/>
          </a:xfrm>
          <a:prstGeom prst="rect">
            <a:avLst/>
          </a:prstGeom>
        </p:spPr>
      </p:pic>
      <p:sp>
        <p:nvSpPr>
          <p:cNvPr id="18" name="矩形 17"/>
          <p:cNvSpPr/>
          <p:nvPr/>
        </p:nvSpPr>
        <p:spPr>
          <a:xfrm>
            <a:off x="6761293" y="1496410"/>
            <a:ext cx="345438" cy="22600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7104091" y="1424746"/>
            <a:ext cx="11737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>
                <a:solidFill>
                  <a:srgbClr val="FF0000"/>
                </a:solidFill>
              </a:rPr>
              <a:t>Cable hole</a:t>
            </a:r>
            <a:endParaRPr lang="zh-CN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333840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2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78937" y="150662"/>
            <a:ext cx="51517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stallation </a:t>
            </a:r>
            <a:r>
              <a:rPr lang="en-US" altLang="zh-CN" sz="2000" b="1" dirty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or </a:t>
            </a:r>
            <a:r>
              <a:rPr lang="en-US" altLang="zh-CN" sz="2000" b="1" dirty="0" err="1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nMoe</a:t>
            </a:r>
            <a:r>
              <a:rPr lang="en-US" altLang="zh-CN" sz="2000" b="1" dirty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47340" y="754004"/>
            <a:ext cx="1840460" cy="3929630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76410" y="689905"/>
            <a:ext cx="2688350" cy="2327970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347450" y="3493470"/>
            <a:ext cx="53767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/>
              <a:t>Lead cable of </a:t>
            </a:r>
            <a:r>
              <a:rPr lang="en-US" altLang="zh-CN" sz="1600" dirty="0" err="1" smtClean="0"/>
              <a:t>minmoe</a:t>
            </a:r>
            <a:r>
              <a:rPr lang="en-US" altLang="zh-CN" sz="1600" dirty="0" smtClean="0"/>
              <a:t> through open hole on the upper cover</a:t>
            </a:r>
          </a:p>
          <a:p>
            <a:r>
              <a:rPr lang="en-US" altLang="zh-CN" sz="1600" dirty="0" smtClean="0"/>
              <a:t>Install the </a:t>
            </a:r>
            <a:r>
              <a:rPr lang="en-US" altLang="zh-CN" sz="1600" dirty="0" err="1" smtClean="0"/>
              <a:t>MinMoe</a:t>
            </a:r>
            <a:r>
              <a:rPr lang="en-US" altLang="zh-CN" sz="1600" dirty="0" smtClean="0"/>
              <a:t> with screws</a:t>
            </a: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2016163754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2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78937" y="150662"/>
            <a:ext cx="591981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re power &amp; network cable for </a:t>
            </a:r>
            <a:r>
              <a:rPr lang="en-US" altLang="zh-CN" sz="2000" b="1" dirty="0" err="1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nMoe</a:t>
            </a:r>
            <a:endParaRPr lang="en-US" altLang="zh-CN" sz="2000" b="1" dirty="0" smtClean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500" y="805120"/>
            <a:ext cx="4433134" cy="205984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5493720" y="1419600"/>
            <a:ext cx="337963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/>
              <a:t>Connect built in 12 power cable from turnstile with power port of </a:t>
            </a:r>
            <a:r>
              <a:rPr lang="en-US" altLang="zh-CN" sz="1600" dirty="0" err="1" smtClean="0"/>
              <a:t>MinMoe</a:t>
            </a:r>
            <a:endParaRPr lang="zh-CN" altLang="en-US" sz="1600" dirty="0"/>
          </a:p>
        </p:txBody>
      </p:sp>
      <p:sp>
        <p:nvSpPr>
          <p:cNvPr id="3" name="文本框 2"/>
          <p:cNvSpPr txBox="1"/>
          <p:nvPr/>
        </p:nvSpPr>
        <p:spPr>
          <a:xfrm>
            <a:off x="5493720" y="3339850"/>
            <a:ext cx="3282758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Connect network cable between </a:t>
            </a:r>
          </a:p>
          <a:p>
            <a:r>
              <a:rPr lang="en-US" altLang="zh-CN" dirty="0" err="1" smtClean="0"/>
              <a:t>MinMoe</a:t>
            </a:r>
            <a:r>
              <a:rPr lang="en-US" altLang="zh-CN" dirty="0" smtClean="0"/>
              <a:t> and network switch on</a:t>
            </a:r>
          </a:p>
          <a:p>
            <a:r>
              <a:rPr lang="en-US" altLang="zh-CN" dirty="0" smtClean="0"/>
              <a:t>turnstile</a:t>
            </a:r>
            <a:endParaRPr lang="zh-CN" altLang="en-US" dirty="0"/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6815" y="3084784"/>
            <a:ext cx="2827917" cy="187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00250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2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78937" y="150662"/>
            <a:ext cx="51517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ring RS-485 cable </a:t>
            </a:r>
            <a:r>
              <a:rPr lang="en-US" altLang="zh-CN" sz="2000" b="1" dirty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or </a:t>
            </a:r>
            <a:r>
              <a:rPr lang="en-US" altLang="zh-CN" sz="2000" b="1" dirty="0" err="1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nMoe</a:t>
            </a:r>
            <a:r>
              <a:rPr lang="en-US" altLang="zh-CN" sz="2000" b="1" dirty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6277" y="800232"/>
            <a:ext cx="3056704" cy="1794434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2371759" y="3047450"/>
            <a:ext cx="316607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1600" dirty="0" smtClean="0"/>
          </a:p>
          <a:p>
            <a:r>
              <a:rPr lang="en-US" altLang="zh-CN" sz="1600" dirty="0" smtClean="0"/>
              <a:t>Connect 485 terminal of entrance /exit </a:t>
            </a:r>
            <a:r>
              <a:rPr lang="en-US" altLang="zh-CN" sz="1600" dirty="0" err="1" smtClean="0"/>
              <a:t>MinMoe</a:t>
            </a:r>
            <a:r>
              <a:rPr lang="en-US" altLang="zh-CN" sz="1600" dirty="0" smtClean="0"/>
              <a:t> to 485D port of turnstile </a:t>
            </a:r>
          </a:p>
          <a:p>
            <a:endParaRPr lang="en-US" altLang="zh-CN" sz="1600" dirty="0" smtClean="0"/>
          </a:p>
          <a:p>
            <a:endParaRPr lang="zh-CN" altLang="en-US" sz="2000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86" y="593032"/>
            <a:ext cx="4301360" cy="2247037"/>
          </a:xfrm>
          <a:prstGeom prst="rect">
            <a:avLst/>
          </a:prstGeom>
        </p:spPr>
      </p:pic>
      <p:cxnSp>
        <p:nvCxnSpPr>
          <p:cNvPr id="7" name="肘形连接符 6"/>
          <p:cNvCxnSpPr/>
          <p:nvPr/>
        </p:nvCxnSpPr>
        <p:spPr>
          <a:xfrm flipV="1">
            <a:off x="4379975" y="1068229"/>
            <a:ext cx="1585585" cy="560153"/>
          </a:xfrm>
          <a:prstGeom prst="bentConnector3">
            <a:avLst>
              <a:gd name="adj1" fmla="val 100789"/>
            </a:avLst>
          </a:prstGeom>
          <a:ln>
            <a:solidFill>
              <a:srgbClr val="FF0000"/>
            </a:solidFill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2834" y="2763837"/>
            <a:ext cx="1644980" cy="2057742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5965560" y="728310"/>
            <a:ext cx="307240" cy="30724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5685745" y="439763"/>
            <a:ext cx="67037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>
                <a:solidFill>
                  <a:srgbClr val="FF0000"/>
                </a:solidFill>
              </a:rPr>
              <a:t> 485D</a:t>
            </a:r>
            <a:endParaRPr lang="zh-CN" altLang="en-US" sz="1600" dirty="0">
              <a:solidFill>
                <a:srgbClr val="FF0000"/>
              </a:solidFill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27269" y="2843799"/>
            <a:ext cx="2006770" cy="2064499"/>
          </a:xfrm>
          <a:prstGeom prst="rect">
            <a:avLst/>
          </a:prstGeom>
        </p:spPr>
      </p:pic>
      <p:sp>
        <p:nvSpPr>
          <p:cNvPr id="19" name="矩形 18"/>
          <p:cNvSpPr/>
          <p:nvPr/>
        </p:nvSpPr>
        <p:spPr>
          <a:xfrm>
            <a:off x="6453845" y="2944707"/>
            <a:ext cx="307240" cy="30724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矩形 12"/>
          <p:cNvSpPr/>
          <p:nvPr/>
        </p:nvSpPr>
        <p:spPr>
          <a:xfrm>
            <a:off x="6216600" y="2576945"/>
            <a:ext cx="7312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 </a:t>
            </a:r>
            <a:r>
              <a:rPr lang="en-US" altLang="zh-CN" dirty="0">
                <a:solidFill>
                  <a:srgbClr val="FF0000"/>
                </a:solidFill>
              </a:rPr>
              <a:t>485D</a:t>
            </a:r>
            <a:endParaRPr lang="zh-CN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56287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2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78937" y="150662"/>
            <a:ext cx="60734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ring </a:t>
            </a:r>
            <a:r>
              <a:rPr lang="en-US" altLang="zh-CN" sz="2000" b="1" dirty="0" err="1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egand</a:t>
            </a:r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cable for DS-K5671(Optional) </a:t>
            </a:r>
            <a:endParaRPr lang="en-US" altLang="zh-CN" sz="20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2451141" y="3132921"/>
            <a:ext cx="27422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1600" dirty="0" smtClean="0"/>
          </a:p>
          <a:p>
            <a:endParaRPr lang="zh-CN" altLang="en-US" sz="2000" dirty="0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980" y="2072186"/>
            <a:ext cx="8690561" cy="2776801"/>
          </a:xfrm>
          <a:prstGeom prst="rect">
            <a:avLst/>
          </a:prstGeom>
        </p:spPr>
      </p:pic>
      <p:sp>
        <p:nvSpPr>
          <p:cNvPr id="17" name="矩形 16"/>
          <p:cNvSpPr/>
          <p:nvPr/>
        </p:nvSpPr>
        <p:spPr>
          <a:xfrm>
            <a:off x="4929976" y="3192803"/>
            <a:ext cx="1298207" cy="289229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8" name="矩形 17"/>
          <p:cNvSpPr/>
          <p:nvPr/>
        </p:nvSpPr>
        <p:spPr>
          <a:xfrm>
            <a:off x="4929976" y="3527549"/>
            <a:ext cx="1298207" cy="26833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cxnSp>
        <p:nvCxnSpPr>
          <p:cNvPr id="19" name="肘形连接符 18"/>
          <p:cNvCxnSpPr/>
          <p:nvPr/>
        </p:nvCxnSpPr>
        <p:spPr>
          <a:xfrm rot="16200000" flipH="1">
            <a:off x="4156017" y="2563458"/>
            <a:ext cx="1329031" cy="218887"/>
          </a:xfrm>
          <a:prstGeom prst="bentConnector2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肘形连接符 19"/>
          <p:cNvCxnSpPr/>
          <p:nvPr/>
        </p:nvCxnSpPr>
        <p:spPr>
          <a:xfrm rot="10800000" flipV="1">
            <a:off x="6228187" y="2930564"/>
            <a:ext cx="840138" cy="731153"/>
          </a:xfrm>
          <a:prstGeom prst="bentConnector3">
            <a:avLst>
              <a:gd name="adj1" fmla="val -1396"/>
            </a:avLst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矩形 20"/>
          <p:cNvSpPr/>
          <p:nvPr/>
        </p:nvSpPr>
        <p:spPr>
          <a:xfrm>
            <a:off x="6303222" y="976182"/>
            <a:ext cx="2278109" cy="19543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100" dirty="0">
                <a:solidFill>
                  <a:srgbClr val="FF0000"/>
                </a:solidFill>
              </a:rPr>
              <a:t>Optional: If card authority of turnstile is needed in access control, connect the </a:t>
            </a:r>
            <a:r>
              <a:rPr lang="en-US" altLang="zh-CN" sz="1100" dirty="0" err="1">
                <a:solidFill>
                  <a:srgbClr val="FF0000"/>
                </a:solidFill>
              </a:rPr>
              <a:t>Wiegand</a:t>
            </a:r>
            <a:r>
              <a:rPr lang="en-US" altLang="zh-CN" sz="1100" dirty="0">
                <a:solidFill>
                  <a:srgbClr val="FF0000"/>
                </a:solidFill>
              </a:rPr>
              <a:t> port to the </a:t>
            </a:r>
            <a:r>
              <a:rPr lang="en-US" altLang="zh-CN" sz="1100" dirty="0" err="1">
                <a:solidFill>
                  <a:srgbClr val="FF0000"/>
                </a:solidFill>
              </a:rPr>
              <a:t>Wiegand</a:t>
            </a:r>
            <a:r>
              <a:rPr lang="en-US" altLang="zh-CN" sz="1100" dirty="0">
                <a:solidFill>
                  <a:srgbClr val="FF0000"/>
                </a:solidFill>
              </a:rPr>
              <a:t> port of card reader in ESD Turnstile. Then the ESD turnstile card reader will be the card reader of face recognition terminal.</a:t>
            </a:r>
          </a:p>
          <a:p>
            <a:r>
              <a:rPr lang="en-US" altLang="zh-CN" sz="1100" b="1" dirty="0"/>
              <a:t>Note: Only K5671 face recognition terminal need this wiring, K1T671 can realize card authority by its own card reader.</a:t>
            </a:r>
            <a:endParaRPr lang="zh-CN" altLang="en-US" sz="1100" b="1" dirty="0"/>
          </a:p>
        </p:txBody>
      </p:sp>
      <p:sp>
        <p:nvSpPr>
          <p:cNvPr id="22" name="矩形 21"/>
          <p:cNvSpPr/>
          <p:nvPr/>
        </p:nvSpPr>
        <p:spPr>
          <a:xfrm>
            <a:off x="3452874" y="1602162"/>
            <a:ext cx="251643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400" dirty="0">
                <a:solidFill>
                  <a:srgbClr val="FF0000"/>
                </a:solidFill>
                <a:cs typeface="Arial" panose="020B0604020202020204" pitchFamily="34" charset="0"/>
              </a:rPr>
              <a:t>Connect to RS-485 of Access Control Board in ESD Turnstile </a:t>
            </a:r>
            <a:endParaRPr lang="zh-CN" altLang="en-US" sz="1400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246661" y="1024447"/>
            <a:ext cx="352038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kern="100" dirty="0">
                <a:ea typeface="等线" panose="02010600030101010101" pitchFamily="2" charset="-122"/>
                <a:cs typeface="Arial" panose="020B0604020202020204" pitchFamily="34" charset="0"/>
              </a:rPr>
              <a:t>Face Recognition Terminal Wiring Instructions</a:t>
            </a:r>
            <a:endParaRPr lang="zh-CN" altLang="en-US" sz="1400" dirty="0">
              <a:cs typeface="Arial" panose="020B0604020202020204" pitchFamily="34" charset="0"/>
            </a:endParaRPr>
          </a:p>
        </p:txBody>
      </p:sp>
      <p:grpSp>
        <p:nvGrpSpPr>
          <p:cNvPr id="23" name="组合 22"/>
          <p:cNvGrpSpPr/>
          <p:nvPr/>
        </p:nvGrpSpPr>
        <p:grpSpPr>
          <a:xfrm>
            <a:off x="269769" y="632093"/>
            <a:ext cx="8612981" cy="350250"/>
            <a:chOff x="0" y="0"/>
            <a:chExt cx="8573907" cy="581245"/>
          </a:xfrm>
        </p:grpSpPr>
        <p:sp>
          <p:nvSpPr>
            <p:cNvPr id="24" name="圆角矩形 23"/>
            <p:cNvSpPr/>
            <p:nvPr/>
          </p:nvSpPr>
          <p:spPr>
            <a:xfrm>
              <a:off x="0" y="0"/>
              <a:ext cx="8466223" cy="581245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r>
                <a:rPr lang="en-US" altLang="zh-CN" sz="1350" b="1" dirty="0" smtClean="0"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Wiring Instructions</a:t>
              </a:r>
              <a:endParaRPr lang="zh-CN" altLang="zh-CN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圆角矩形 4"/>
            <p:cNvSpPr/>
            <p:nvPr/>
          </p:nvSpPr>
          <p:spPr>
            <a:xfrm>
              <a:off x="149312" y="53840"/>
              <a:ext cx="8424595" cy="4633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5723" tIns="65723" rIns="65723" bIns="65723" numCol="1" spcCol="1270" anchor="ctr" anchorCtr="0">
              <a:noAutofit/>
            </a:bodyPr>
            <a:lstStyle/>
            <a:p>
              <a:pPr defTabSz="76676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990783740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2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78937" y="150662"/>
            <a:ext cx="607343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ring </a:t>
            </a:r>
            <a:r>
              <a:rPr lang="en-US" altLang="zh-CN" sz="2000" b="1" dirty="0" err="1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egand</a:t>
            </a:r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cable for DS-K5671(Optional) </a:t>
            </a:r>
            <a:endParaRPr lang="en-US" altLang="zh-CN" sz="20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2451141" y="3132921"/>
            <a:ext cx="274223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altLang="zh-CN" sz="1600" dirty="0" smtClean="0"/>
          </a:p>
          <a:p>
            <a:endParaRPr lang="zh-CN" altLang="en-US" sz="2000" dirty="0"/>
          </a:p>
        </p:txBody>
      </p:sp>
      <p:grpSp>
        <p:nvGrpSpPr>
          <p:cNvPr id="15" name="组合 14"/>
          <p:cNvGrpSpPr/>
          <p:nvPr/>
        </p:nvGrpSpPr>
        <p:grpSpPr>
          <a:xfrm>
            <a:off x="230982" y="648498"/>
            <a:ext cx="8612981" cy="350250"/>
            <a:chOff x="0" y="0"/>
            <a:chExt cx="8573907" cy="581245"/>
          </a:xfrm>
        </p:grpSpPr>
        <p:sp>
          <p:nvSpPr>
            <p:cNvPr id="23" name="圆角矩形 22"/>
            <p:cNvSpPr/>
            <p:nvPr/>
          </p:nvSpPr>
          <p:spPr>
            <a:xfrm>
              <a:off x="0" y="0"/>
              <a:ext cx="8466223" cy="581245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r>
                <a:rPr lang="en-US" altLang="zh-CN" sz="1350" b="1" dirty="0" smtClean="0"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Card Reader DIP Switch (Optional)</a:t>
              </a:r>
              <a:endParaRPr lang="zh-CN" altLang="zh-CN" sz="12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圆角矩形 4"/>
            <p:cNvSpPr/>
            <p:nvPr/>
          </p:nvSpPr>
          <p:spPr>
            <a:xfrm>
              <a:off x="149312" y="53840"/>
              <a:ext cx="8424595" cy="4633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5723" tIns="65723" rIns="65723" bIns="65723" numCol="1" spcCol="1270" anchor="ctr" anchorCtr="0">
              <a:noAutofit/>
            </a:bodyPr>
            <a:lstStyle/>
            <a:p>
              <a:pPr defTabSz="766763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1200" dirty="0"/>
            </a:p>
          </p:txBody>
        </p:sp>
      </p:grpSp>
      <p:sp>
        <p:nvSpPr>
          <p:cNvPr id="2" name="矩形 1"/>
          <p:cNvSpPr/>
          <p:nvPr/>
        </p:nvSpPr>
        <p:spPr>
          <a:xfrm>
            <a:off x="165140" y="1096680"/>
            <a:ext cx="857064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/>
              <a:t>If card authority is needed in access control, connect the </a:t>
            </a:r>
            <a:r>
              <a:rPr lang="en-US" altLang="zh-CN" sz="1400" dirty="0" err="1"/>
              <a:t>Wiegand</a:t>
            </a:r>
            <a:r>
              <a:rPr lang="en-US" altLang="zh-CN" sz="1400" dirty="0"/>
              <a:t> port of Face Recognition Terminal to the </a:t>
            </a:r>
            <a:r>
              <a:rPr lang="en-US" altLang="zh-CN" sz="1400" dirty="0" err="1"/>
              <a:t>Wiegand</a:t>
            </a:r>
            <a:r>
              <a:rPr lang="en-US" altLang="zh-CN" sz="1400" dirty="0"/>
              <a:t> port of card reader in ESD Turnstile. Please set the DIP switch firstly before connecting the cared reader.</a:t>
            </a:r>
            <a:endParaRPr lang="zh-CN" altLang="en-US" sz="1400" dirty="0"/>
          </a:p>
        </p:txBody>
      </p:sp>
      <p:pic>
        <p:nvPicPr>
          <p:cNvPr id="25" name="图片 2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002" y="2031198"/>
            <a:ext cx="2571922" cy="831588"/>
          </a:xfrm>
          <a:prstGeom prst="rect">
            <a:avLst/>
          </a:prstGeom>
        </p:spPr>
      </p:pic>
      <p:grpSp>
        <p:nvGrpSpPr>
          <p:cNvPr id="26" name="组合 25"/>
          <p:cNvGrpSpPr/>
          <p:nvPr/>
        </p:nvGrpSpPr>
        <p:grpSpPr>
          <a:xfrm>
            <a:off x="3180943" y="2238238"/>
            <a:ext cx="792088" cy="417508"/>
            <a:chOff x="6544693" y="799357"/>
            <a:chExt cx="345785" cy="417508"/>
          </a:xfrm>
        </p:grpSpPr>
        <p:sp>
          <p:nvSpPr>
            <p:cNvPr id="27" name="右箭头 26"/>
            <p:cNvSpPr/>
            <p:nvPr/>
          </p:nvSpPr>
          <p:spPr>
            <a:xfrm>
              <a:off x="6544693" y="799357"/>
              <a:ext cx="345785" cy="417508"/>
            </a:xfrm>
            <a:prstGeom prst="rightArrow">
              <a:avLst>
                <a:gd name="adj1" fmla="val 60000"/>
                <a:gd name="adj2" fmla="val 50000"/>
              </a:avLst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11250264"/>
                <a:satOff val="-16880"/>
                <a:lumOff val="-2745"/>
                <a:alphaOff val="0"/>
              </a:schemeClr>
            </a:fillRef>
            <a:effectRef idx="0">
              <a:schemeClr val="accent3">
                <a:hueOff val="11250264"/>
                <a:satOff val="-16880"/>
                <a:lumOff val="-2745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右箭头 4"/>
            <p:cNvSpPr/>
            <p:nvPr/>
          </p:nvSpPr>
          <p:spPr>
            <a:xfrm>
              <a:off x="6544693" y="882859"/>
              <a:ext cx="242050" cy="2505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533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1200" kern="1200"/>
            </a:p>
          </p:txBody>
        </p:sp>
      </p:grpSp>
      <p:graphicFrame>
        <p:nvGraphicFramePr>
          <p:cNvPr id="29" name="表格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4104470"/>
              </p:ext>
            </p:extLst>
          </p:nvPr>
        </p:nvGraphicFramePr>
        <p:xfrm>
          <a:off x="4252468" y="2093932"/>
          <a:ext cx="4366996" cy="706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834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834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49736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/>
                        <a:t>DIP Switch Status</a:t>
                      </a:r>
                      <a:endParaRPr lang="zh-CN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/>
                        <a:t>Reader</a:t>
                      </a:r>
                      <a:endParaRPr lang="zh-CN" alt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smtClean="0"/>
                        <a:t>0000 0100</a:t>
                      </a:r>
                      <a:endParaRPr lang="zh-CN" alt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 err="1" smtClean="0"/>
                        <a:t>Wiegand</a:t>
                      </a:r>
                      <a:r>
                        <a:rPr lang="en-US" altLang="zh-CN" sz="1600" baseline="0" dirty="0" smtClean="0"/>
                        <a:t> 34 protocol</a:t>
                      </a:r>
                      <a:endParaRPr lang="zh-CN" altLang="en-US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0" name="矩形 29"/>
          <p:cNvSpPr/>
          <p:nvPr/>
        </p:nvSpPr>
        <p:spPr>
          <a:xfrm>
            <a:off x="336002" y="3083795"/>
            <a:ext cx="8517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dirty="0" smtClean="0"/>
              <a:t>Card reader connect to Face Recognition Terminal as </a:t>
            </a:r>
            <a:r>
              <a:rPr lang="en-US" altLang="zh-CN" sz="1400" dirty="0" err="1" smtClean="0"/>
              <a:t>Wiegand</a:t>
            </a:r>
            <a:r>
              <a:rPr lang="en-US" altLang="zh-CN" sz="1400" dirty="0" smtClean="0"/>
              <a:t> 34 protocol, so you need to configure the binary value of the card reader as 0000 0100.</a:t>
            </a:r>
            <a:endParaRPr lang="zh-CN" altLang="en-US" sz="1400" dirty="0"/>
          </a:p>
        </p:txBody>
      </p:sp>
      <p:sp>
        <p:nvSpPr>
          <p:cNvPr id="31" name="矩形 30"/>
          <p:cNvSpPr/>
          <p:nvPr/>
        </p:nvSpPr>
        <p:spPr>
          <a:xfrm>
            <a:off x="3973031" y="3751321"/>
            <a:ext cx="484394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1400" b="1" dirty="0">
                <a:solidFill>
                  <a:srgbClr val="FF0000"/>
                </a:solidFill>
              </a:rPr>
              <a:t>Note: Only K5671 face recognition terminal need this </a:t>
            </a:r>
            <a:r>
              <a:rPr lang="en-US" altLang="zh-CN" sz="1400" b="1" dirty="0" smtClean="0">
                <a:solidFill>
                  <a:srgbClr val="FF0000"/>
                </a:solidFill>
              </a:rPr>
              <a:t>configuration, </a:t>
            </a:r>
            <a:r>
              <a:rPr lang="en-US" altLang="zh-CN" sz="1400" b="1" dirty="0">
                <a:solidFill>
                  <a:srgbClr val="FF0000"/>
                </a:solidFill>
              </a:rPr>
              <a:t>K1T671 can realize card authority by its own card reader.</a:t>
            </a:r>
            <a:endParaRPr lang="zh-CN" altLang="en-US" sz="14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265796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2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78937" y="150662"/>
            <a:ext cx="51517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stallation for ESD</a:t>
            </a:r>
          </a:p>
        </p:txBody>
      </p:sp>
      <p:pic>
        <p:nvPicPr>
          <p:cNvPr id="7" name="图片 6"/>
          <p:cNvPicPr/>
          <p:nvPr/>
        </p:nvPicPr>
        <p:blipFill>
          <a:blip r:embed="rId3"/>
          <a:stretch>
            <a:fillRect/>
          </a:stretch>
        </p:blipFill>
        <p:spPr>
          <a:xfrm>
            <a:off x="1444261" y="843525"/>
            <a:ext cx="5274310" cy="2206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7704519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2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78937" y="150662"/>
            <a:ext cx="51517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err="1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rng</a:t>
            </a:r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for ESD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491570" y="3147825"/>
            <a:ext cx="5347233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en-US" altLang="zh-CN" sz="1400" dirty="0" smtClean="0"/>
              <a:t>Lead all the wiring cable through hole on upper cover of turnstile  </a:t>
            </a:r>
          </a:p>
          <a:p>
            <a:pPr marL="342900" indent="-342900">
              <a:buAutoNum type="arabicPeriod"/>
            </a:pPr>
            <a:r>
              <a:rPr lang="en-US" altLang="zh-CN" sz="1400" dirty="0"/>
              <a:t>U</a:t>
            </a:r>
            <a:r>
              <a:rPr lang="en-US" altLang="zh-CN" sz="1400" dirty="0" smtClean="0"/>
              <a:t>se the installation cover to fix the ESD detector on turnstile  </a:t>
            </a:r>
          </a:p>
          <a:p>
            <a:pPr marL="342900" indent="-342900">
              <a:buAutoNum type="arabicPeriod"/>
            </a:pPr>
            <a:r>
              <a:rPr lang="en-US" altLang="zh-CN" sz="1400" dirty="0" smtClean="0"/>
              <a:t>Connect waist strap to the interface of ESD detector</a:t>
            </a:r>
          </a:p>
          <a:p>
            <a:pPr marL="342900" indent="-342900">
              <a:buAutoNum type="arabicPeriod"/>
            </a:pPr>
            <a:r>
              <a:rPr lang="en-US" altLang="zh-CN" sz="1400" dirty="0" smtClean="0"/>
              <a:t>Install </a:t>
            </a:r>
            <a:r>
              <a:rPr lang="en-US" altLang="zh-CN" sz="1400" dirty="0" err="1" smtClean="0"/>
              <a:t>MinMoe</a:t>
            </a:r>
            <a:r>
              <a:rPr lang="en-US" altLang="zh-CN" sz="1400" dirty="0" smtClean="0"/>
              <a:t> through installation hole on cover of ESD detector</a:t>
            </a:r>
            <a:endParaRPr lang="zh-CN" altLang="en-US" sz="1200" dirty="0"/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0710" y="748013"/>
            <a:ext cx="2001059" cy="2163049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3206" y="766715"/>
            <a:ext cx="1858434" cy="2144347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98743" y="766715"/>
            <a:ext cx="2105025" cy="162877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4985" y="766715"/>
            <a:ext cx="1222765" cy="16266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3145695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椭圆 6"/>
          <p:cNvSpPr/>
          <p:nvPr/>
        </p:nvSpPr>
        <p:spPr>
          <a:xfrm>
            <a:off x="1098247" y="1683778"/>
            <a:ext cx="1705185" cy="1705185"/>
          </a:xfrm>
          <a:prstGeom prst="ellipse">
            <a:avLst/>
          </a:prstGeom>
          <a:solidFill>
            <a:srgbClr val="D71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/>
          <a:p>
            <a:pPr algn="ctr" defTabSz="685783"/>
            <a:endParaRPr lang="zh-CN" altLang="en-US" sz="1400">
              <a:solidFill>
                <a:srgbClr val="800000"/>
              </a:solidFill>
              <a:latin typeface="+mj-lt"/>
            </a:endParaRPr>
          </a:p>
        </p:txBody>
      </p:sp>
      <p:sp>
        <p:nvSpPr>
          <p:cNvPr id="8" name="文本框 5"/>
          <p:cNvSpPr txBox="1"/>
          <p:nvPr/>
        </p:nvSpPr>
        <p:spPr>
          <a:xfrm>
            <a:off x="1230526" y="2287653"/>
            <a:ext cx="1978228" cy="500135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83"/>
            <a:r>
              <a:rPr lang="en-US" altLang="zh-CN" sz="2800" b="1" dirty="0" smtClean="0">
                <a:solidFill>
                  <a:prstClr val="white"/>
                </a:solidFill>
                <a:latin typeface="+mj-lt"/>
              </a:rPr>
              <a:t>Content   </a:t>
            </a:r>
            <a:endParaRPr lang="zh-CN" altLang="en-US" sz="2800" b="1" dirty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9" name="等腰三角形 8"/>
          <p:cNvSpPr/>
          <p:nvPr/>
        </p:nvSpPr>
        <p:spPr>
          <a:xfrm rot="16200000">
            <a:off x="8704437" y="2392356"/>
            <a:ext cx="505254" cy="366636"/>
          </a:xfrm>
          <a:prstGeom prst="triangle">
            <a:avLst/>
          </a:prstGeom>
          <a:solidFill>
            <a:srgbClr val="D71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9" tIns="34289" rIns="68579" bIns="34289"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rgbClr val="D71920"/>
              </a:solidFill>
              <a:latin typeface="+mj-lt"/>
            </a:endParaRPr>
          </a:p>
        </p:txBody>
      </p:sp>
      <p:sp>
        <p:nvSpPr>
          <p:cNvPr id="10" name="文本框 22"/>
          <p:cNvSpPr txBox="1"/>
          <p:nvPr/>
        </p:nvSpPr>
        <p:spPr>
          <a:xfrm>
            <a:off x="3343181" y="421070"/>
            <a:ext cx="865595" cy="761747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83"/>
            <a:r>
              <a:rPr lang="en-US" altLang="zh-CN" sz="4500" b="1" spc="450" dirty="0" smtClean="0">
                <a:solidFill>
                  <a:srgbClr val="D71920"/>
                </a:solidFill>
                <a:latin typeface="+mj-lt"/>
              </a:rPr>
              <a:t>1</a:t>
            </a:r>
            <a:endParaRPr lang="zh-CN" altLang="en-US" sz="4500" b="1" spc="450" dirty="0">
              <a:solidFill>
                <a:srgbClr val="D71920"/>
              </a:solidFill>
              <a:latin typeface="+mj-lt"/>
            </a:endParaRPr>
          </a:p>
        </p:txBody>
      </p:sp>
      <p:sp>
        <p:nvSpPr>
          <p:cNvPr id="11" name="文本框 23"/>
          <p:cNvSpPr txBox="1"/>
          <p:nvPr/>
        </p:nvSpPr>
        <p:spPr>
          <a:xfrm>
            <a:off x="3341033" y="1275523"/>
            <a:ext cx="775981" cy="761747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83"/>
            <a:r>
              <a:rPr lang="en-US" altLang="zh-CN" sz="4500" b="1" dirty="0" smtClean="0">
                <a:solidFill>
                  <a:srgbClr val="D71920"/>
                </a:solidFill>
                <a:latin typeface="+mj-lt"/>
              </a:rPr>
              <a:t>2</a:t>
            </a:r>
            <a:endParaRPr lang="zh-CN" altLang="en-US" sz="4500" b="1" dirty="0">
              <a:solidFill>
                <a:srgbClr val="D71920"/>
              </a:solidFill>
              <a:latin typeface="+mj-lt"/>
            </a:endParaRPr>
          </a:p>
        </p:txBody>
      </p:sp>
      <p:sp>
        <p:nvSpPr>
          <p:cNvPr id="12" name="文本框 26"/>
          <p:cNvSpPr txBox="1"/>
          <p:nvPr/>
        </p:nvSpPr>
        <p:spPr>
          <a:xfrm>
            <a:off x="4173335" y="653942"/>
            <a:ext cx="1350111" cy="315469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pPr defTabSz="685783"/>
            <a:r>
              <a:rPr lang="en-US" altLang="zh-CN" sz="16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reparation</a:t>
            </a:r>
            <a:endParaRPr lang="en-US" altLang="zh-CN" sz="16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27"/>
          <p:cNvSpPr txBox="1"/>
          <p:nvPr/>
        </p:nvSpPr>
        <p:spPr>
          <a:xfrm>
            <a:off x="4158799" y="1462062"/>
            <a:ext cx="1299072" cy="807911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pPr defTabSz="685783"/>
            <a:r>
              <a:rPr lang="en-US" altLang="zh-CN" sz="16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stallation</a:t>
            </a:r>
          </a:p>
          <a:p>
            <a:pPr defTabSz="685783"/>
            <a:endParaRPr lang="en-US" altLang="zh-CN" sz="16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defTabSz="685783"/>
            <a:endParaRPr lang="en-US" altLang="zh-CN" sz="16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8" name="直接连接符 17"/>
          <p:cNvCxnSpPr/>
          <p:nvPr/>
        </p:nvCxnSpPr>
        <p:spPr>
          <a:xfrm>
            <a:off x="4095086" y="608132"/>
            <a:ext cx="0" cy="451657"/>
          </a:xfrm>
          <a:prstGeom prst="line">
            <a:avLst/>
          </a:prstGeom>
          <a:ln>
            <a:solidFill>
              <a:srgbClr val="D719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/>
        </p:nvCxnSpPr>
        <p:spPr>
          <a:xfrm>
            <a:off x="4080550" y="1437344"/>
            <a:ext cx="0" cy="451657"/>
          </a:xfrm>
          <a:prstGeom prst="line">
            <a:avLst/>
          </a:prstGeom>
          <a:ln>
            <a:solidFill>
              <a:srgbClr val="D719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文本框 13"/>
          <p:cNvSpPr txBox="1"/>
          <p:nvPr/>
        </p:nvSpPr>
        <p:spPr>
          <a:xfrm>
            <a:off x="3330376" y="2172845"/>
            <a:ext cx="775981" cy="761747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83"/>
            <a:r>
              <a:rPr lang="en-US" altLang="zh-CN" sz="4500" b="1" dirty="0">
                <a:solidFill>
                  <a:srgbClr val="D71920"/>
                </a:solidFill>
                <a:latin typeface="+mj-lt"/>
              </a:rPr>
              <a:t>3</a:t>
            </a:r>
            <a:endParaRPr lang="zh-CN" altLang="en-US" sz="4500" b="1" dirty="0">
              <a:solidFill>
                <a:srgbClr val="D71920"/>
              </a:solidFill>
              <a:latin typeface="+mj-lt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4148142" y="2359384"/>
            <a:ext cx="1576392" cy="315469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pPr defTabSz="685783"/>
            <a:r>
              <a:rPr lang="en-US" altLang="zh-CN" sz="16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figuration</a:t>
            </a:r>
            <a:endParaRPr lang="en-US" altLang="zh-CN" sz="16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6" name="直接连接符 15"/>
          <p:cNvCxnSpPr/>
          <p:nvPr/>
        </p:nvCxnSpPr>
        <p:spPr>
          <a:xfrm>
            <a:off x="4069893" y="2334666"/>
            <a:ext cx="0" cy="451657"/>
          </a:xfrm>
          <a:prstGeom prst="line">
            <a:avLst/>
          </a:prstGeom>
          <a:ln>
            <a:solidFill>
              <a:srgbClr val="D719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文本框 16"/>
          <p:cNvSpPr txBox="1"/>
          <p:nvPr/>
        </p:nvSpPr>
        <p:spPr>
          <a:xfrm>
            <a:off x="3333419" y="2953679"/>
            <a:ext cx="775981" cy="761747"/>
          </a:xfrm>
          <a:prstGeom prst="rect">
            <a:avLst/>
          </a:prstGeom>
          <a:noFill/>
        </p:spPr>
        <p:txBody>
          <a:bodyPr wrap="square" lIns="68579" tIns="34289" rIns="68579" bIns="34289" rtlCol="0">
            <a:spAutoFit/>
          </a:bodyPr>
          <a:lstStyle/>
          <a:p>
            <a:pPr defTabSz="685783"/>
            <a:r>
              <a:rPr lang="en-US" altLang="zh-CN" sz="4500" b="1" dirty="0">
                <a:solidFill>
                  <a:srgbClr val="D71920"/>
                </a:solidFill>
                <a:latin typeface="+mj-lt"/>
              </a:rPr>
              <a:t>4</a:t>
            </a:r>
            <a:endParaRPr lang="zh-CN" altLang="en-US" sz="4500" b="1" dirty="0">
              <a:solidFill>
                <a:srgbClr val="D71920"/>
              </a:solidFill>
              <a:latin typeface="+mj-lt"/>
            </a:endParaRPr>
          </a:p>
        </p:txBody>
      </p:sp>
      <p:sp>
        <p:nvSpPr>
          <p:cNvPr id="20" name="文本框 19"/>
          <p:cNvSpPr txBox="1"/>
          <p:nvPr/>
        </p:nvSpPr>
        <p:spPr>
          <a:xfrm>
            <a:off x="4151185" y="3140218"/>
            <a:ext cx="1174037" cy="315469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pPr defTabSz="685783"/>
            <a:r>
              <a:rPr lang="en-US" altLang="zh-CN" sz="16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elf check</a:t>
            </a:r>
            <a:endParaRPr lang="en-US" altLang="zh-CN" sz="16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4" name="直接连接符 23"/>
          <p:cNvCxnSpPr/>
          <p:nvPr/>
        </p:nvCxnSpPr>
        <p:spPr>
          <a:xfrm>
            <a:off x="4072936" y="3115500"/>
            <a:ext cx="0" cy="451657"/>
          </a:xfrm>
          <a:prstGeom prst="line">
            <a:avLst/>
          </a:prstGeom>
          <a:ln>
            <a:solidFill>
              <a:srgbClr val="D719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9682905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2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78937" y="150662"/>
            <a:ext cx="51517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err="1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rng</a:t>
            </a:r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for ESD</a:t>
            </a:r>
          </a:p>
        </p:txBody>
      </p:sp>
      <p:pic>
        <p:nvPicPr>
          <p:cNvPr id="10" name="图片 9" descr="C:\Users\yuhaoyue\AppData\Local\Temp\1652064351(1)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464069" y="2782801"/>
            <a:ext cx="2039497" cy="1757823"/>
          </a:xfrm>
          <a:prstGeom prst="rect">
            <a:avLst/>
          </a:prstGeom>
          <a:noFill/>
          <a:ln>
            <a:noFill/>
          </a:ln>
        </p:spPr>
      </p:pic>
      <p:pic>
        <p:nvPicPr>
          <p:cNvPr id="43" name="图片 4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8012" y="804164"/>
            <a:ext cx="1973347" cy="1173159"/>
          </a:xfrm>
          <a:prstGeom prst="rect">
            <a:avLst/>
          </a:prstGeom>
        </p:spPr>
      </p:pic>
      <p:pic>
        <p:nvPicPr>
          <p:cNvPr id="65" name="图片 6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0314" y="1283711"/>
            <a:ext cx="1651415" cy="1263068"/>
          </a:xfrm>
          <a:prstGeom prst="rect">
            <a:avLst/>
          </a:prstGeom>
        </p:spPr>
      </p:pic>
      <p:sp>
        <p:nvSpPr>
          <p:cNvPr id="71" name="文本框 70"/>
          <p:cNvSpPr txBox="1"/>
          <p:nvPr/>
        </p:nvSpPr>
        <p:spPr>
          <a:xfrm>
            <a:off x="-2417" y="2473228"/>
            <a:ext cx="2646791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dirty="0" smtClean="0"/>
              <a:t>1.Connect </a:t>
            </a:r>
            <a:r>
              <a:rPr lang="en-US" altLang="zh-CN" sz="1400" b="1" dirty="0" smtClean="0"/>
              <a:t>RS485-A</a:t>
            </a:r>
            <a:r>
              <a:rPr lang="en-US" altLang="zh-CN" sz="1400" dirty="0" smtClean="0"/>
              <a:t> with </a:t>
            </a:r>
            <a:r>
              <a:rPr lang="en-US" altLang="zh-CN" sz="1400" b="1" dirty="0" smtClean="0"/>
              <a:t>RS485C+ </a:t>
            </a:r>
            <a:r>
              <a:rPr lang="en-US" altLang="zh-CN" sz="1400" dirty="0" smtClean="0"/>
              <a:t>Connect </a:t>
            </a:r>
            <a:r>
              <a:rPr lang="en-US" altLang="zh-CN" sz="1400" b="1" dirty="0" smtClean="0"/>
              <a:t>RS485-B</a:t>
            </a:r>
            <a:r>
              <a:rPr lang="en-US" altLang="zh-CN" sz="1400" dirty="0" smtClean="0"/>
              <a:t> with </a:t>
            </a:r>
            <a:r>
              <a:rPr lang="en-US" altLang="zh-CN" sz="1400" b="1" dirty="0" smtClean="0"/>
              <a:t>RS485C-</a:t>
            </a:r>
            <a:r>
              <a:rPr lang="en-US" altLang="zh-CN" sz="1400" dirty="0" smtClean="0"/>
              <a:t> </a:t>
            </a:r>
          </a:p>
          <a:p>
            <a:r>
              <a:rPr lang="en-US" altLang="zh-CN" sz="1400" dirty="0" smtClean="0"/>
              <a:t>2. Connect both foot interface with </a:t>
            </a:r>
            <a:r>
              <a:rPr lang="en-US" altLang="zh-CN" sz="1400" dirty="0" smtClean="0"/>
              <a:t>foot </a:t>
            </a:r>
            <a:r>
              <a:rPr lang="en-US" altLang="zh-CN" sz="1400" dirty="0" smtClean="0"/>
              <a:t>pedal</a:t>
            </a:r>
            <a:endParaRPr lang="en-US" altLang="zh-CN" sz="1400" dirty="0"/>
          </a:p>
          <a:p>
            <a:r>
              <a:rPr lang="en-US" altLang="zh-CN" sz="1400" dirty="0" smtClean="0"/>
              <a:t>3. Connect POWER interface with 12V power cable of turnstile</a:t>
            </a:r>
          </a:p>
          <a:p>
            <a:endParaRPr lang="en-US" altLang="zh-CN" sz="1600" dirty="0"/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39130" y="728581"/>
            <a:ext cx="2427535" cy="3754526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005269" y="728581"/>
            <a:ext cx="2692552" cy="1659512"/>
          </a:xfrm>
          <a:prstGeom prst="rect">
            <a:avLst/>
          </a:prstGeom>
        </p:spPr>
      </p:pic>
      <p:cxnSp>
        <p:nvCxnSpPr>
          <p:cNvPr id="9" name="肘形连接符 8"/>
          <p:cNvCxnSpPr/>
          <p:nvPr/>
        </p:nvCxnSpPr>
        <p:spPr>
          <a:xfrm rot="10800000">
            <a:off x="2965395" y="1159556"/>
            <a:ext cx="3087503" cy="192025"/>
          </a:xfrm>
          <a:prstGeom prst="bentConnector3">
            <a:avLst>
              <a:gd name="adj1" fmla="val 99360"/>
            </a:avLst>
          </a:prstGeom>
          <a:ln>
            <a:solidFill>
              <a:srgbClr val="00B0F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3" name="肘形连接符 12"/>
          <p:cNvCxnSpPr/>
          <p:nvPr/>
        </p:nvCxnSpPr>
        <p:spPr>
          <a:xfrm rot="10800000">
            <a:off x="2850181" y="1159556"/>
            <a:ext cx="3202718" cy="341055"/>
          </a:xfrm>
          <a:prstGeom prst="bentConnector3">
            <a:avLst>
              <a:gd name="adj1" fmla="val 99964"/>
            </a:avLst>
          </a:prstGeom>
          <a:ln>
            <a:solidFill>
              <a:srgbClr val="FFFF00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8" name="肘形连接符 17"/>
          <p:cNvCxnSpPr/>
          <p:nvPr/>
        </p:nvCxnSpPr>
        <p:spPr>
          <a:xfrm rot="10800000">
            <a:off x="3098668" y="1159557"/>
            <a:ext cx="3015936" cy="499264"/>
          </a:xfrm>
          <a:prstGeom prst="bentConnector3">
            <a:avLst>
              <a:gd name="adj1" fmla="val 100363"/>
            </a:avLst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" name="文本框 23"/>
          <p:cNvSpPr txBox="1"/>
          <p:nvPr/>
        </p:nvSpPr>
        <p:spPr>
          <a:xfrm>
            <a:off x="2684129" y="788653"/>
            <a:ext cx="622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+ - G</a:t>
            </a:r>
            <a:endParaRPr lang="zh-CN" altLang="en-US" dirty="0">
              <a:solidFill>
                <a:srgbClr val="FF0000"/>
              </a:solidFill>
            </a:endParaRPr>
          </a:p>
        </p:txBody>
      </p:sp>
      <p:cxnSp>
        <p:nvCxnSpPr>
          <p:cNvPr id="27" name="直接箭头连接符 26"/>
          <p:cNvCxnSpPr/>
          <p:nvPr/>
        </p:nvCxnSpPr>
        <p:spPr>
          <a:xfrm>
            <a:off x="621244" y="873788"/>
            <a:ext cx="2084328" cy="33965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3" name="肘形连接符 32"/>
          <p:cNvCxnSpPr/>
          <p:nvPr/>
        </p:nvCxnSpPr>
        <p:spPr>
          <a:xfrm rot="10800000" flipV="1">
            <a:off x="3887114" y="3322868"/>
            <a:ext cx="952018" cy="1"/>
          </a:xfrm>
          <a:prstGeom prst="bentConnector3">
            <a:avLst>
              <a:gd name="adj1" fmla="val 50000"/>
            </a:avLst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39" name="肘形连接符 38"/>
          <p:cNvCxnSpPr/>
          <p:nvPr/>
        </p:nvCxnSpPr>
        <p:spPr>
          <a:xfrm rot="10800000">
            <a:off x="4040735" y="3466746"/>
            <a:ext cx="848409" cy="194966"/>
          </a:xfrm>
          <a:prstGeom prst="bentConnector3">
            <a:avLst>
              <a:gd name="adj1" fmla="val 97303"/>
            </a:avLst>
          </a:prstGeom>
          <a:ln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5" name="直接箭头连接符 4"/>
          <p:cNvCxnSpPr/>
          <p:nvPr/>
        </p:nvCxnSpPr>
        <p:spPr>
          <a:xfrm flipH="1" flipV="1">
            <a:off x="6261820" y="1073955"/>
            <a:ext cx="1382580" cy="1113745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0899372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2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78937" y="150662"/>
            <a:ext cx="51517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err="1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Wirng</a:t>
            </a:r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for ESD- RS485/232 jumper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515890" y="736184"/>
            <a:ext cx="6717288" cy="2554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 smtClean="0"/>
              <a:t>485C is RS232 communication mode by default. Need to switch to </a:t>
            </a:r>
            <a:r>
              <a:rPr lang="en-US" altLang="zh-CN" sz="1400" b="1" dirty="0" smtClean="0"/>
              <a:t>RS-485 mode</a:t>
            </a:r>
            <a:endParaRPr lang="en-US" altLang="zh-CN" b="1" dirty="0"/>
          </a:p>
          <a:p>
            <a:r>
              <a:rPr lang="en-US" altLang="zh-CN" sz="1400" dirty="0" smtClean="0"/>
              <a:t>If jumper cap’s position is like picture below(direction based on triangle), this port is in </a:t>
            </a:r>
          </a:p>
          <a:p>
            <a:r>
              <a:rPr lang="en-US" altLang="zh-CN" sz="1400" dirty="0" smtClean="0"/>
              <a:t>RS-485 communication mode</a:t>
            </a:r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r>
              <a:rPr lang="en-US" altLang="zh-CN" sz="1400" dirty="0" smtClean="0"/>
              <a:t>If the jumper cap’s position is like the picture below(direction based on triangle), this port</a:t>
            </a:r>
          </a:p>
          <a:p>
            <a:r>
              <a:rPr lang="en-US" altLang="zh-CN" sz="1400" dirty="0" smtClean="0"/>
              <a:t>is in RS-232 communication mode</a:t>
            </a: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63162" y="1419600"/>
            <a:ext cx="2828502" cy="1324146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557" y="3531875"/>
            <a:ext cx="3061865" cy="1264001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62303" y="1292906"/>
            <a:ext cx="2963254" cy="1450840"/>
          </a:xfrm>
          <a:prstGeom prst="rect">
            <a:avLst/>
          </a:prstGeom>
        </p:spPr>
      </p:pic>
      <p:sp>
        <p:nvSpPr>
          <p:cNvPr id="8" name="等腰三角形 7"/>
          <p:cNvSpPr/>
          <p:nvPr/>
        </p:nvSpPr>
        <p:spPr>
          <a:xfrm>
            <a:off x="4929227" y="1999722"/>
            <a:ext cx="178749" cy="192025"/>
          </a:xfrm>
          <a:prstGeom prst="triangl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3990340" y="1686618"/>
            <a:ext cx="8340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RS-485</a:t>
            </a:r>
            <a:endParaRPr lang="zh-CN" altLang="en-US" dirty="0">
              <a:solidFill>
                <a:srgbClr val="FF0000"/>
              </a:solidFill>
            </a:endParaRPr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62303" y="3137458"/>
            <a:ext cx="2918780" cy="1779066"/>
          </a:xfrm>
          <a:prstGeom prst="rect">
            <a:avLst/>
          </a:prstGeom>
        </p:spPr>
      </p:pic>
      <p:sp>
        <p:nvSpPr>
          <p:cNvPr id="35" name="等腰三角形 34"/>
          <p:cNvSpPr/>
          <p:nvPr/>
        </p:nvSpPr>
        <p:spPr>
          <a:xfrm>
            <a:off x="4902878" y="3854041"/>
            <a:ext cx="178749" cy="192025"/>
          </a:xfrm>
          <a:prstGeom prst="triangl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7" name="矩形 36"/>
          <p:cNvSpPr/>
          <p:nvPr/>
        </p:nvSpPr>
        <p:spPr>
          <a:xfrm>
            <a:off x="4782511" y="3550743"/>
            <a:ext cx="365566" cy="18716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8" name="矩形 37"/>
          <p:cNvSpPr/>
          <p:nvPr/>
        </p:nvSpPr>
        <p:spPr>
          <a:xfrm>
            <a:off x="4782511" y="1802326"/>
            <a:ext cx="266982" cy="18716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5" name="文本框 14"/>
          <p:cNvSpPr txBox="1"/>
          <p:nvPr/>
        </p:nvSpPr>
        <p:spPr>
          <a:xfrm>
            <a:off x="3990340" y="3459657"/>
            <a:ext cx="83407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RS-232</a:t>
            </a:r>
            <a:endParaRPr lang="zh-CN" altLang="en-US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586481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1255"/>
            <a:ext cx="9144000" cy="5140990"/>
          </a:xfrm>
          <a:prstGeom prst="rect">
            <a:avLst/>
          </a:prstGeom>
        </p:spPr>
      </p:pic>
      <p:sp>
        <p:nvSpPr>
          <p:cNvPr id="5" name="流程图: 手动输入 1"/>
          <p:cNvSpPr/>
          <p:nvPr/>
        </p:nvSpPr>
        <p:spPr>
          <a:xfrm rot="5400000" flipV="1">
            <a:off x="2982600" y="288235"/>
            <a:ext cx="1343471" cy="5878286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  <a:gd name="connsiteX0" fmla="*/ 10 w 10144"/>
              <a:gd name="connsiteY0" fmla="*/ 4760 h 21913"/>
              <a:gd name="connsiteX1" fmla="*/ 10100 w 10144"/>
              <a:gd name="connsiteY1" fmla="*/ 0 h 21913"/>
              <a:gd name="connsiteX2" fmla="*/ 10144 w 10144"/>
              <a:gd name="connsiteY2" fmla="*/ 21913 h 21913"/>
              <a:gd name="connsiteX3" fmla="*/ 39 w 10144"/>
              <a:gd name="connsiteY3" fmla="*/ 13979 h 21913"/>
              <a:gd name="connsiteX4" fmla="*/ 10 w 10144"/>
              <a:gd name="connsiteY4" fmla="*/ 4760 h 21913"/>
              <a:gd name="connsiteX0" fmla="*/ 133 w 10267"/>
              <a:gd name="connsiteY0" fmla="*/ 4760 h 21997"/>
              <a:gd name="connsiteX1" fmla="*/ 10223 w 10267"/>
              <a:gd name="connsiteY1" fmla="*/ 0 h 21997"/>
              <a:gd name="connsiteX2" fmla="*/ 10267 w 10267"/>
              <a:gd name="connsiteY2" fmla="*/ 21913 h 21997"/>
              <a:gd name="connsiteX3" fmla="*/ 0 w 10267"/>
              <a:gd name="connsiteY3" fmla="*/ 21997 h 21997"/>
              <a:gd name="connsiteX4" fmla="*/ 133 w 10267"/>
              <a:gd name="connsiteY4" fmla="*/ 4760 h 21997"/>
              <a:gd name="connsiteX0" fmla="*/ 79 w 10213"/>
              <a:gd name="connsiteY0" fmla="*/ 4760 h 21913"/>
              <a:gd name="connsiteX1" fmla="*/ 10169 w 10213"/>
              <a:gd name="connsiteY1" fmla="*/ 0 h 21913"/>
              <a:gd name="connsiteX2" fmla="*/ 10213 w 10213"/>
              <a:gd name="connsiteY2" fmla="*/ 21913 h 21913"/>
              <a:gd name="connsiteX3" fmla="*/ 0 w 10213"/>
              <a:gd name="connsiteY3" fmla="*/ 21913 h 21913"/>
              <a:gd name="connsiteX4" fmla="*/ 79 w 10213"/>
              <a:gd name="connsiteY4" fmla="*/ 4760 h 21913"/>
              <a:gd name="connsiteX0" fmla="*/ 14 w 10148"/>
              <a:gd name="connsiteY0" fmla="*/ 4760 h 21934"/>
              <a:gd name="connsiteX1" fmla="*/ 10104 w 10148"/>
              <a:gd name="connsiteY1" fmla="*/ 0 h 21934"/>
              <a:gd name="connsiteX2" fmla="*/ 10148 w 10148"/>
              <a:gd name="connsiteY2" fmla="*/ 21913 h 21934"/>
              <a:gd name="connsiteX3" fmla="*/ 16 w 10148"/>
              <a:gd name="connsiteY3" fmla="*/ 21934 h 21934"/>
              <a:gd name="connsiteX4" fmla="*/ 14 w 10148"/>
              <a:gd name="connsiteY4" fmla="*/ 4760 h 21934"/>
              <a:gd name="connsiteX0" fmla="*/ 52 w 10186"/>
              <a:gd name="connsiteY0" fmla="*/ 4760 h 21913"/>
              <a:gd name="connsiteX1" fmla="*/ 10142 w 10186"/>
              <a:gd name="connsiteY1" fmla="*/ 0 h 21913"/>
              <a:gd name="connsiteX2" fmla="*/ 10186 w 10186"/>
              <a:gd name="connsiteY2" fmla="*/ 21913 h 21913"/>
              <a:gd name="connsiteX3" fmla="*/ 0 w 10186"/>
              <a:gd name="connsiteY3" fmla="*/ 21913 h 21913"/>
              <a:gd name="connsiteX4" fmla="*/ 52 w 10186"/>
              <a:gd name="connsiteY4" fmla="*/ 4760 h 21913"/>
              <a:gd name="connsiteX0" fmla="*/ 133 w 10267"/>
              <a:gd name="connsiteY0" fmla="*/ 4760 h 23487"/>
              <a:gd name="connsiteX1" fmla="*/ 10223 w 10267"/>
              <a:gd name="connsiteY1" fmla="*/ 0 h 23487"/>
              <a:gd name="connsiteX2" fmla="*/ 10267 w 10267"/>
              <a:gd name="connsiteY2" fmla="*/ 21913 h 23487"/>
              <a:gd name="connsiteX3" fmla="*/ 0 w 10267"/>
              <a:gd name="connsiteY3" fmla="*/ 23487 h 23487"/>
              <a:gd name="connsiteX4" fmla="*/ 133 w 10267"/>
              <a:gd name="connsiteY4" fmla="*/ 4760 h 23487"/>
              <a:gd name="connsiteX0" fmla="*/ 106 w 10240"/>
              <a:gd name="connsiteY0" fmla="*/ 4760 h 23487"/>
              <a:gd name="connsiteX1" fmla="*/ 10196 w 10240"/>
              <a:gd name="connsiteY1" fmla="*/ 0 h 23487"/>
              <a:gd name="connsiteX2" fmla="*/ 10240 w 10240"/>
              <a:gd name="connsiteY2" fmla="*/ 21913 h 23487"/>
              <a:gd name="connsiteX3" fmla="*/ 0 w 10240"/>
              <a:gd name="connsiteY3" fmla="*/ 23487 h 23487"/>
              <a:gd name="connsiteX4" fmla="*/ 106 w 10240"/>
              <a:gd name="connsiteY4" fmla="*/ 4760 h 23487"/>
              <a:gd name="connsiteX0" fmla="*/ 79 w 10213"/>
              <a:gd name="connsiteY0" fmla="*/ 4760 h 23424"/>
              <a:gd name="connsiteX1" fmla="*/ 10169 w 10213"/>
              <a:gd name="connsiteY1" fmla="*/ 0 h 23424"/>
              <a:gd name="connsiteX2" fmla="*/ 10213 w 10213"/>
              <a:gd name="connsiteY2" fmla="*/ 21913 h 23424"/>
              <a:gd name="connsiteX3" fmla="*/ 0 w 10213"/>
              <a:gd name="connsiteY3" fmla="*/ 23424 h 23424"/>
              <a:gd name="connsiteX4" fmla="*/ 79 w 10213"/>
              <a:gd name="connsiteY4" fmla="*/ 4760 h 23424"/>
              <a:gd name="connsiteX0" fmla="*/ 79 w 10186"/>
              <a:gd name="connsiteY0" fmla="*/ 4760 h 23424"/>
              <a:gd name="connsiteX1" fmla="*/ 10169 w 10186"/>
              <a:gd name="connsiteY1" fmla="*/ 0 h 23424"/>
              <a:gd name="connsiteX2" fmla="*/ 10186 w 10186"/>
              <a:gd name="connsiteY2" fmla="*/ 23277 h 23424"/>
              <a:gd name="connsiteX3" fmla="*/ 0 w 10186"/>
              <a:gd name="connsiteY3" fmla="*/ 23424 h 23424"/>
              <a:gd name="connsiteX4" fmla="*/ 79 w 10186"/>
              <a:gd name="connsiteY4" fmla="*/ 4760 h 23424"/>
              <a:gd name="connsiteX0" fmla="*/ 25 w 10132"/>
              <a:gd name="connsiteY0" fmla="*/ 4760 h 23361"/>
              <a:gd name="connsiteX1" fmla="*/ 10115 w 10132"/>
              <a:gd name="connsiteY1" fmla="*/ 0 h 23361"/>
              <a:gd name="connsiteX2" fmla="*/ 10132 w 10132"/>
              <a:gd name="connsiteY2" fmla="*/ 23277 h 23361"/>
              <a:gd name="connsiteX3" fmla="*/ 0 w 10132"/>
              <a:gd name="connsiteY3" fmla="*/ 23361 h 23361"/>
              <a:gd name="connsiteX4" fmla="*/ 25 w 10132"/>
              <a:gd name="connsiteY4" fmla="*/ 4760 h 23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32" h="23361">
                <a:moveTo>
                  <a:pt x="25" y="4760"/>
                </a:moveTo>
                <a:lnTo>
                  <a:pt x="10115" y="0"/>
                </a:lnTo>
                <a:cubicBezTo>
                  <a:pt x="10130" y="4660"/>
                  <a:pt x="10117" y="18617"/>
                  <a:pt x="10132" y="23277"/>
                </a:cubicBezTo>
                <a:lnTo>
                  <a:pt x="0" y="23361"/>
                </a:lnTo>
                <a:cubicBezTo>
                  <a:pt x="47" y="20264"/>
                  <a:pt x="-22" y="7857"/>
                  <a:pt x="25" y="476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>
              <a:latin typeface="+mj-lt"/>
            </a:endParaRPr>
          </a:p>
        </p:txBody>
      </p:sp>
      <p:sp>
        <p:nvSpPr>
          <p:cNvPr id="6" name="流程图: 手动输入 1"/>
          <p:cNvSpPr/>
          <p:nvPr/>
        </p:nvSpPr>
        <p:spPr>
          <a:xfrm rot="5400000" flipH="1">
            <a:off x="327594" y="2231243"/>
            <a:ext cx="1345062" cy="2000249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D71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>
              <a:latin typeface="+mj-lt"/>
            </a:endParaRPr>
          </a:p>
        </p:txBody>
      </p:sp>
      <p:sp>
        <p:nvSpPr>
          <p:cNvPr id="7" name="文本框 7"/>
          <p:cNvSpPr txBox="1"/>
          <p:nvPr/>
        </p:nvSpPr>
        <p:spPr>
          <a:xfrm>
            <a:off x="501070" y="2833229"/>
            <a:ext cx="1707663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950" b="1" dirty="0" smtClean="0">
                <a:solidFill>
                  <a:schemeClr val="bg1"/>
                </a:solidFill>
                <a:latin typeface="+mj-lt"/>
              </a:rPr>
              <a:t>3</a:t>
            </a:r>
            <a:endParaRPr lang="zh-CN" altLang="en-US" sz="495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文本框 10"/>
          <p:cNvSpPr txBox="1"/>
          <p:nvPr/>
        </p:nvSpPr>
        <p:spPr>
          <a:xfrm>
            <a:off x="1805629" y="2973462"/>
            <a:ext cx="58361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8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onfiguration</a:t>
            </a:r>
            <a:endParaRPr lang="en-US" altLang="zh-CN" sz="2800" b="1" u="sng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886327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3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14353" y="150662"/>
            <a:ext cx="50626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S-485 configuration for turnstile</a:t>
            </a:r>
            <a:endParaRPr lang="en-US" altLang="zh-CN" sz="20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文本框 2"/>
          <p:cNvSpPr txBox="1"/>
          <p:nvPr/>
        </p:nvSpPr>
        <p:spPr>
          <a:xfrm>
            <a:off x="5163325" y="843525"/>
            <a:ext cx="368688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/>
              <a:t>Open ivms-4200, add turnstile and go to </a:t>
            </a:r>
            <a:r>
              <a:rPr lang="en-US" altLang="zh-CN" sz="1600" b="1" dirty="0" smtClean="0"/>
              <a:t>Access Control-Advanced Function</a:t>
            </a:r>
          </a:p>
          <a:p>
            <a:r>
              <a:rPr lang="en-US" altLang="zh-CN" sz="1600" b="1" dirty="0" smtClean="0"/>
              <a:t>-More </a:t>
            </a:r>
            <a:r>
              <a:rPr lang="en-US" altLang="zh-CN" sz="1600" b="1" dirty="0" err="1" smtClean="0"/>
              <a:t>parameters</a:t>
            </a:r>
            <a:r>
              <a:rPr lang="en-US" altLang="zh-CN" sz="1600" dirty="0" err="1" smtClean="0"/>
              <a:t>,choose</a:t>
            </a:r>
            <a:r>
              <a:rPr lang="en-US" altLang="zh-CN" sz="1600" dirty="0" smtClean="0"/>
              <a:t> turnstile and go to RS-485</a:t>
            </a:r>
            <a:endParaRPr lang="zh-CN" altLang="en-US" sz="1600" dirty="0"/>
          </a:p>
        </p:txBody>
      </p:sp>
      <p:sp>
        <p:nvSpPr>
          <p:cNvPr id="4" name="文本框 3"/>
          <p:cNvSpPr txBox="1"/>
          <p:nvPr/>
        </p:nvSpPr>
        <p:spPr>
          <a:xfrm>
            <a:off x="5340100" y="2533345"/>
            <a:ext cx="368688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b="1" dirty="0" smtClean="0"/>
              <a:t>Serial Number</a:t>
            </a:r>
            <a:r>
              <a:rPr lang="en-US" altLang="zh-CN" sz="1600" dirty="0" smtClean="0"/>
              <a:t>: choose </a:t>
            </a:r>
            <a:r>
              <a:rPr lang="en-US" altLang="zh-CN" sz="1600" b="1" dirty="0" smtClean="0"/>
              <a:t>4</a:t>
            </a:r>
            <a:r>
              <a:rPr lang="en-US" altLang="zh-CN" sz="1600" dirty="0"/>
              <a:t> </a:t>
            </a:r>
            <a:r>
              <a:rPr lang="en-US" altLang="zh-CN" sz="1600" dirty="0" smtClean="0"/>
              <a:t>to change 485D parameters </a:t>
            </a:r>
          </a:p>
          <a:p>
            <a:r>
              <a:rPr lang="en-US" altLang="zh-CN" sz="1600" b="1" dirty="0" smtClean="0"/>
              <a:t>External Device</a:t>
            </a:r>
            <a:r>
              <a:rPr lang="zh-CN" altLang="en-US" sz="1600" b="1" dirty="0" smtClean="0"/>
              <a:t>：</a:t>
            </a:r>
            <a:r>
              <a:rPr lang="en-US" altLang="zh-CN" sz="1600" dirty="0" smtClean="0"/>
              <a:t>choose </a:t>
            </a:r>
            <a:r>
              <a:rPr lang="en-US" altLang="zh-CN" sz="1600" b="1" dirty="0" smtClean="0"/>
              <a:t>IC Card Reader</a:t>
            </a:r>
          </a:p>
          <a:p>
            <a:r>
              <a:rPr lang="en-US" altLang="zh-CN" sz="1600" b="1" dirty="0" smtClean="0"/>
              <a:t>Authentication Type: Device </a:t>
            </a:r>
            <a:r>
              <a:rPr lang="en-US" altLang="zh-CN" sz="1600" b="1" dirty="0" err="1" smtClean="0"/>
              <a:t>Authenticaiotn</a:t>
            </a:r>
            <a:endParaRPr lang="en-US" altLang="zh-CN" sz="1600" b="1" dirty="0" smtClean="0"/>
          </a:p>
          <a:p>
            <a:r>
              <a:rPr lang="en-US" altLang="zh-CN" sz="1600" b="1" dirty="0" smtClean="0"/>
              <a:t>Baud Rate: 19200 </a:t>
            </a:r>
            <a:r>
              <a:rPr lang="en-US" altLang="zh-CN" sz="1600" dirty="0" smtClean="0"/>
              <a:t>for RS-485</a:t>
            </a:r>
            <a:endParaRPr lang="zh-CN" altLang="en-US" sz="1600" dirty="0"/>
          </a:p>
        </p:txBody>
      </p:sp>
      <p:cxnSp>
        <p:nvCxnSpPr>
          <p:cNvPr id="6" name="直接箭头连接符 5"/>
          <p:cNvCxnSpPr/>
          <p:nvPr/>
        </p:nvCxnSpPr>
        <p:spPr>
          <a:xfrm>
            <a:off x="5070496" y="1880460"/>
            <a:ext cx="538439" cy="729695"/>
          </a:xfrm>
          <a:prstGeom prst="straightConnector1">
            <a:avLst/>
          </a:prstGeom>
          <a:noFill/>
          <a:ln w="12700" cap="flat" cmpd="sng" algn="ctr">
            <a:solidFill>
              <a:srgbClr val="D7000F"/>
            </a:solidFill>
            <a:prstDash val="solid"/>
            <a:tailEnd type="triangle"/>
          </a:ln>
          <a:effectLst/>
        </p:spPr>
      </p:cxnSp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6332" y="843525"/>
            <a:ext cx="4785331" cy="3657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651382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3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14353" y="150662"/>
            <a:ext cx="50626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S-485 configuration for </a:t>
            </a:r>
            <a:r>
              <a:rPr lang="en-US" altLang="zh-CN" sz="2000" b="1" dirty="0" err="1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nMoe</a:t>
            </a:r>
            <a:endParaRPr lang="en-US" altLang="zh-CN" sz="20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251" y="1189170"/>
            <a:ext cx="4371645" cy="3594062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461478" y="688864"/>
            <a:ext cx="8335071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 smtClean="0"/>
              <a:t>Open web page of </a:t>
            </a:r>
            <a:r>
              <a:rPr lang="en-US" altLang="zh-CN" sz="1600" dirty="0" err="1" smtClean="0"/>
              <a:t>MinMoe</a:t>
            </a:r>
            <a:r>
              <a:rPr lang="en-US" altLang="zh-CN" sz="1600" dirty="0" smtClean="0"/>
              <a:t>, go to </a:t>
            </a:r>
            <a:r>
              <a:rPr lang="en-US" altLang="zh-CN" sz="1600" b="1" dirty="0" smtClean="0"/>
              <a:t>Configuration-Access Control-RS-485 </a:t>
            </a:r>
          </a:p>
          <a:p>
            <a:endParaRPr lang="en-US" altLang="zh-CN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08935" y="1265980"/>
            <a:ext cx="1744370" cy="1294790"/>
          </a:xfrm>
          <a:prstGeom prst="rect">
            <a:avLst/>
          </a:prstGeom>
        </p:spPr>
      </p:pic>
      <p:cxnSp>
        <p:nvCxnSpPr>
          <p:cNvPr id="6" name="直接箭头连接符 5"/>
          <p:cNvCxnSpPr>
            <a:endCxn id="4" idx="1"/>
          </p:cNvCxnSpPr>
          <p:nvPr/>
        </p:nvCxnSpPr>
        <p:spPr>
          <a:xfrm flipV="1">
            <a:off x="4303165" y="1913375"/>
            <a:ext cx="1305770" cy="462522"/>
          </a:xfrm>
          <a:prstGeom prst="straightConnector1">
            <a:avLst/>
          </a:prstGeom>
          <a:noFill/>
          <a:ln w="12700" cap="flat" cmpd="sng" algn="ctr">
            <a:solidFill>
              <a:srgbClr val="FF0000"/>
            </a:solidFill>
            <a:prstDash val="solid"/>
            <a:tailEnd type="triangle"/>
          </a:ln>
          <a:effectLst/>
        </p:spPr>
      </p:cxnSp>
      <p:sp>
        <p:nvSpPr>
          <p:cNvPr id="9" name="文本框 8"/>
          <p:cNvSpPr txBox="1"/>
          <p:nvPr/>
        </p:nvSpPr>
        <p:spPr>
          <a:xfrm>
            <a:off x="5455314" y="2986201"/>
            <a:ext cx="3418045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400" b="1" dirty="0" smtClean="0"/>
              <a:t>Peripheral </a:t>
            </a:r>
            <a:r>
              <a:rPr lang="en-US" altLang="zh-CN" sz="1400" b="1" dirty="0" err="1" smtClean="0"/>
              <a:t>Type</a:t>
            </a:r>
            <a:r>
              <a:rPr lang="en-US" altLang="zh-CN" sz="1400" dirty="0" err="1" smtClean="0"/>
              <a:t>:choose</a:t>
            </a:r>
            <a:r>
              <a:rPr lang="en-US" altLang="zh-CN" sz="1400" dirty="0" smtClean="0"/>
              <a:t> </a:t>
            </a:r>
            <a:r>
              <a:rPr lang="en-US" altLang="zh-CN" sz="1400" b="1" dirty="0" smtClean="0"/>
              <a:t>Access Controller</a:t>
            </a:r>
          </a:p>
          <a:p>
            <a:r>
              <a:rPr lang="en-US" altLang="zh-CN" sz="1200" dirty="0" smtClean="0"/>
              <a:t>By default is card reader, change to access controller requires reboot </a:t>
            </a:r>
          </a:p>
          <a:p>
            <a:r>
              <a:rPr lang="en-US" altLang="zh-CN" sz="1200" b="1" dirty="0" smtClean="0"/>
              <a:t>Baud Rate: 19200</a:t>
            </a:r>
          </a:p>
          <a:p>
            <a:r>
              <a:rPr lang="en-US" altLang="zh-CN" sz="1400" b="1" dirty="0" smtClean="0"/>
              <a:t>RS-485 Address : 2  </a:t>
            </a:r>
            <a:r>
              <a:rPr lang="en-US" altLang="zh-CN" sz="1400" dirty="0" smtClean="0"/>
              <a:t>for </a:t>
            </a:r>
            <a:r>
              <a:rPr lang="en-US" altLang="zh-CN" sz="1400" b="1" dirty="0" smtClean="0"/>
              <a:t>entrance</a:t>
            </a:r>
            <a:r>
              <a:rPr lang="en-US" altLang="zh-CN" sz="1400" dirty="0" smtClean="0"/>
              <a:t> </a:t>
            </a:r>
            <a:r>
              <a:rPr lang="en-US" altLang="zh-CN" sz="1400" dirty="0" err="1" smtClean="0"/>
              <a:t>minmoe</a:t>
            </a:r>
            <a:endParaRPr lang="en-US" altLang="zh-CN" sz="1400" dirty="0" smtClean="0"/>
          </a:p>
          <a:p>
            <a:r>
              <a:rPr lang="en-US" altLang="zh-CN" sz="1400" b="1" dirty="0"/>
              <a:t> </a:t>
            </a:r>
            <a:r>
              <a:rPr lang="en-US" altLang="zh-CN" sz="1400" b="1" dirty="0" smtClean="0"/>
              <a:t>                               3  </a:t>
            </a:r>
            <a:r>
              <a:rPr lang="en-US" altLang="zh-CN" sz="1400" dirty="0" smtClean="0"/>
              <a:t>for </a:t>
            </a:r>
            <a:r>
              <a:rPr lang="en-US" altLang="zh-CN" sz="1400" b="1" dirty="0" smtClean="0"/>
              <a:t>exit</a:t>
            </a:r>
            <a:r>
              <a:rPr lang="en-US" altLang="zh-CN" sz="1400" dirty="0" smtClean="0"/>
              <a:t> </a:t>
            </a:r>
            <a:r>
              <a:rPr lang="en-US" altLang="zh-CN" sz="1400" dirty="0" err="1" smtClean="0"/>
              <a:t>minmoe</a:t>
            </a:r>
            <a:endParaRPr lang="en-US" altLang="zh-CN" sz="1400" dirty="0" smtClean="0"/>
          </a:p>
          <a:p>
            <a:r>
              <a:rPr lang="en-US" altLang="zh-CN" sz="1400" b="1" dirty="0" smtClean="0"/>
              <a:t>Output Type: </a:t>
            </a:r>
            <a:r>
              <a:rPr lang="en-US" altLang="zh-CN" sz="1400" dirty="0" smtClean="0"/>
              <a:t>choose</a:t>
            </a:r>
            <a:r>
              <a:rPr lang="en-US" altLang="zh-CN" sz="1400" b="1" dirty="0" smtClean="0"/>
              <a:t> Card No.</a:t>
            </a:r>
            <a:endParaRPr lang="en-US" altLang="zh-CN" sz="1400" b="1" dirty="0"/>
          </a:p>
        </p:txBody>
      </p:sp>
    </p:spTree>
    <p:extLst>
      <p:ext uri="{BB962C8B-B14F-4D97-AF65-F5344CB8AC3E}">
        <p14:creationId xmlns:p14="http://schemas.microsoft.com/office/powerpoint/2010/main" val="2399810911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3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14353" y="150662"/>
            <a:ext cx="506268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S-485 configuration for ESD</a:t>
            </a:r>
            <a:endParaRPr lang="en-US" altLang="zh-CN" sz="20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/>
          <p:nvPr/>
        </p:nvPicPr>
        <p:blipFill>
          <a:blip r:embed="rId2"/>
          <a:stretch>
            <a:fillRect/>
          </a:stretch>
        </p:blipFill>
        <p:spPr>
          <a:xfrm>
            <a:off x="693095" y="997144"/>
            <a:ext cx="4070930" cy="3120795"/>
          </a:xfrm>
          <a:prstGeom prst="rect">
            <a:avLst/>
          </a:prstGeom>
        </p:spPr>
      </p:pic>
      <p:sp>
        <p:nvSpPr>
          <p:cNvPr id="2" name="矩形 1"/>
          <p:cNvSpPr/>
          <p:nvPr/>
        </p:nvSpPr>
        <p:spPr>
          <a:xfrm>
            <a:off x="4863415" y="2456535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b="1" dirty="0"/>
              <a:t>Serial Number</a:t>
            </a:r>
            <a:r>
              <a:rPr lang="en-US" altLang="zh-CN" dirty="0"/>
              <a:t>: choose </a:t>
            </a:r>
            <a:r>
              <a:rPr lang="en-US" altLang="zh-CN" b="1" dirty="0"/>
              <a:t>3</a:t>
            </a:r>
            <a:r>
              <a:rPr lang="en-US" altLang="zh-CN" b="1" dirty="0" smtClean="0"/>
              <a:t> </a:t>
            </a:r>
            <a:endParaRPr lang="en-US" altLang="zh-CN" dirty="0"/>
          </a:p>
          <a:p>
            <a:r>
              <a:rPr lang="en-US" altLang="zh-CN" b="1" dirty="0" smtClean="0"/>
              <a:t>External </a:t>
            </a:r>
            <a:r>
              <a:rPr lang="en-US" altLang="zh-CN" b="1" dirty="0"/>
              <a:t>Device</a:t>
            </a:r>
            <a:r>
              <a:rPr lang="zh-CN" altLang="en-US" b="1" dirty="0"/>
              <a:t>：</a:t>
            </a:r>
            <a:r>
              <a:rPr lang="en-US" altLang="zh-CN" dirty="0"/>
              <a:t>choose </a:t>
            </a:r>
            <a:r>
              <a:rPr lang="en-US" altLang="zh-CN" b="1" dirty="0"/>
              <a:t>IC Card Reader</a:t>
            </a:r>
          </a:p>
          <a:p>
            <a:r>
              <a:rPr lang="en-US" altLang="zh-CN" b="1" dirty="0"/>
              <a:t>Authentication Type: Device </a:t>
            </a:r>
            <a:r>
              <a:rPr lang="en-US" altLang="zh-CN" b="1" dirty="0" err="1"/>
              <a:t>Authenticaiotn</a:t>
            </a:r>
            <a:endParaRPr lang="en-US" altLang="zh-CN" b="1" dirty="0"/>
          </a:p>
          <a:p>
            <a:r>
              <a:rPr lang="en-US" altLang="zh-CN" b="1" dirty="0"/>
              <a:t>Baud Rate: 19200 </a:t>
            </a:r>
            <a:r>
              <a:rPr lang="en-US" altLang="zh-CN" dirty="0"/>
              <a:t>for RS-485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4802430" y="1004848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altLang="zh-CN" dirty="0"/>
              <a:t>Open ivms-4200, add turnstile and go to </a:t>
            </a:r>
            <a:r>
              <a:rPr lang="en-US" altLang="zh-CN" b="1" dirty="0"/>
              <a:t>Access Control-Advanced Function</a:t>
            </a:r>
          </a:p>
          <a:p>
            <a:r>
              <a:rPr lang="en-US" altLang="zh-CN" b="1" dirty="0"/>
              <a:t>-More </a:t>
            </a:r>
            <a:r>
              <a:rPr lang="en-US" altLang="zh-CN" b="1" dirty="0" err="1"/>
              <a:t>parameters</a:t>
            </a:r>
            <a:r>
              <a:rPr lang="en-US" altLang="zh-CN" dirty="0" err="1"/>
              <a:t>,choose</a:t>
            </a:r>
            <a:r>
              <a:rPr lang="en-US" altLang="zh-CN" dirty="0"/>
              <a:t> turnstile and go to RS-485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129963534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1255"/>
            <a:ext cx="9144000" cy="5140990"/>
          </a:xfrm>
          <a:prstGeom prst="rect">
            <a:avLst/>
          </a:prstGeom>
        </p:spPr>
      </p:pic>
      <p:sp>
        <p:nvSpPr>
          <p:cNvPr id="5" name="流程图: 手动输入 1"/>
          <p:cNvSpPr/>
          <p:nvPr/>
        </p:nvSpPr>
        <p:spPr>
          <a:xfrm rot="5400000" flipV="1">
            <a:off x="2982600" y="288235"/>
            <a:ext cx="1343471" cy="5878286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  <a:gd name="connsiteX0" fmla="*/ 10 w 10144"/>
              <a:gd name="connsiteY0" fmla="*/ 4760 h 21913"/>
              <a:gd name="connsiteX1" fmla="*/ 10100 w 10144"/>
              <a:gd name="connsiteY1" fmla="*/ 0 h 21913"/>
              <a:gd name="connsiteX2" fmla="*/ 10144 w 10144"/>
              <a:gd name="connsiteY2" fmla="*/ 21913 h 21913"/>
              <a:gd name="connsiteX3" fmla="*/ 39 w 10144"/>
              <a:gd name="connsiteY3" fmla="*/ 13979 h 21913"/>
              <a:gd name="connsiteX4" fmla="*/ 10 w 10144"/>
              <a:gd name="connsiteY4" fmla="*/ 4760 h 21913"/>
              <a:gd name="connsiteX0" fmla="*/ 133 w 10267"/>
              <a:gd name="connsiteY0" fmla="*/ 4760 h 21997"/>
              <a:gd name="connsiteX1" fmla="*/ 10223 w 10267"/>
              <a:gd name="connsiteY1" fmla="*/ 0 h 21997"/>
              <a:gd name="connsiteX2" fmla="*/ 10267 w 10267"/>
              <a:gd name="connsiteY2" fmla="*/ 21913 h 21997"/>
              <a:gd name="connsiteX3" fmla="*/ 0 w 10267"/>
              <a:gd name="connsiteY3" fmla="*/ 21997 h 21997"/>
              <a:gd name="connsiteX4" fmla="*/ 133 w 10267"/>
              <a:gd name="connsiteY4" fmla="*/ 4760 h 21997"/>
              <a:gd name="connsiteX0" fmla="*/ 79 w 10213"/>
              <a:gd name="connsiteY0" fmla="*/ 4760 h 21913"/>
              <a:gd name="connsiteX1" fmla="*/ 10169 w 10213"/>
              <a:gd name="connsiteY1" fmla="*/ 0 h 21913"/>
              <a:gd name="connsiteX2" fmla="*/ 10213 w 10213"/>
              <a:gd name="connsiteY2" fmla="*/ 21913 h 21913"/>
              <a:gd name="connsiteX3" fmla="*/ 0 w 10213"/>
              <a:gd name="connsiteY3" fmla="*/ 21913 h 21913"/>
              <a:gd name="connsiteX4" fmla="*/ 79 w 10213"/>
              <a:gd name="connsiteY4" fmla="*/ 4760 h 21913"/>
              <a:gd name="connsiteX0" fmla="*/ 14 w 10148"/>
              <a:gd name="connsiteY0" fmla="*/ 4760 h 21934"/>
              <a:gd name="connsiteX1" fmla="*/ 10104 w 10148"/>
              <a:gd name="connsiteY1" fmla="*/ 0 h 21934"/>
              <a:gd name="connsiteX2" fmla="*/ 10148 w 10148"/>
              <a:gd name="connsiteY2" fmla="*/ 21913 h 21934"/>
              <a:gd name="connsiteX3" fmla="*/ 16 w 10148"/>
              <a:gd name="connsiteY3" fmla="*/ 21934 h 21934"/>
              <a:gd name="connsiteX4" fmla="*/ 14 w 10148"/>
              <a:gd name="connsiteY4" fmla="*/ 4760 h 21934"/>
              <a:gd name="connsiteX0" fmla="*/ 52 w 10186"/>
              <a:gd name="connsiteY0" fmla="*/ 4760 h 21913"/>
              <a:gd name="connsiteX1" fmla="*/ 10142 w 10186"/>
              <a:gd name="connsiteY1" fmla="*/ 0 h 21913"/>
              <a:gd name="connsiteX2" fmla="*/ 10186 w 10186"/>
              <a:gd name="connsiteY2" fmla="*/ 21913 h 21913"/>
              <a:gd name="connsiteX3" fmla="*/ 0 w 10186"/>
              <a:gd name="connsiteY3" fmla="*/ 21913 h 21913"/>
              <a:gd name="connsiteX4" fmla="*/ 52 w 10186"/>
              <a:gd name="connsiteY4" fmla="*/ 4760 h 21913"/>
              <a:gd name="connsiteX0" fmla="*/ 133 w 10267"/>
              <a:gd name="connsiteY0" fmla="*/ 4760 h 23487"/>
              <a:gd name="connsiteX1" fmla="*/ 10223 w 10267"/>
              <a:gd name="connsiteY1" fmla="*/ 0 h 23487"/>
              <a:gd name="connsiteX2" fmla="*/ 10267 w 10267"/>
              <a:gd name="connsiteY2" fmla="*/ 21913 h 23487"/>
              <a:gd name="connsiteX3" fmla="*/ 0 w 10267"/>
              <a:gd name="connsiteY3" fmla="*/ 23487 h 23487"/>
              <a:gd name="connsiteX4" fmla="*/ 133 w 10267"/>
              <a:gd name="connsiteY4" fmla="*/ 4760 h 23487"/>
              <a:gd name="connsiteX0" fmla="*/ 106 w 10240"/>
              <a:gd name="connsiteY0" fmla="*/ 4760 h 23487"/>
              <a:gd name="connsiteX1" fmla="*/ 10196 w 10240"/>
              <a:gd name="connsiteY1" fmla="*/ 0 h 23487"/>
              <a:gd name="connsiteX2" fmla="*/ 10240 w 10240"/>
              <a:gd name="connsiteY2" fmla="*/ 21913 h 23487"/>
              <a:gd name="connsiteX3" fmla="*/ 0 w 10240"/>
              <a:gd name="connsiteY3" fmla="*/ 23487 h 23487"/>
              <a:gd name="connsiteX4" fmla="*/ 106 w 10240"/>
              <a:gd name="connsiteY4" fmla="*/ 4760 h 23487"/>
              <a:gd name="connsiteX0" fmla="*/ 79 w 10213"/>
              <a:gd name="connsiteY0" fmla="*/ 4760 h 23424"/>
              <a:gd name="connsiteX1" fmla="*/ 10169 w 10213"/>
              <a:gd name="connsiteY1" fmla="*/ 0 h 23424"/>
              <a:gd name="connsiteX2" fmla="*/ 10213 w 10213"/>
              <a:gd name="connsiteY2" fmla="*/ 21913 h 23424"/>
              <a:gd name="connsiteX3" fmla="*/ 0 w 10213"/>
              <a:gd name="connsiteY3" fmla="*/ 23424 h 23424"/>
              <a:gd name="connsiteX4" fmla="*/ 79 w 10213"/>
              <a:gd name="connsiteY4" fmla="*/ 4760 h 23424"/>
              <a:gd name="connsiteX0" fmla="*/ 79 w 10186"/>
              <a:gd name="connsiteY0" fmla="*/ 4760 h 23424"/>
              <a:gd name="connsiteX1" fmla="*/ 10169 w 10186"/>
              <a:gd name="connsiteY1" fmla="*/ 0 h 23424"/>
              <a:gd name="connsiteX2" fmla="*/ 10186 w 10186"/>
              <a:gd name="connsiteY2" fmla="*/ 23277 h 23424"/>
              <a:gd name="connsiteX3" fmla="*/ 0 w 10186"/>
              <a:gd name="connsiteY3" fmla="*/ 23424 h 23424"/>
              <a:gd name="connsiteX4" fmla="*/ 79 w 10186"/>
              <a:gd name="connsiteY4" fmla="*/ 4760 h 23424"/>
              <a:gd name="connsiteX0" fmla="*/ 25 w 10132"/>
              <a:gd name="connsiteY0" fmla="*/ 4760 h 23361"/>
              <a:gd name="connsiteX1" fmla="*/ 10115 w 10132"/>
              <a:gd name="connsiteY1" fmla="*/ 0 h 23361"/>
              <a:gd name="connsiteX2" fmla="*/ 10132 w 10132"/>
              <a:gd name="connsiteY2" fmla="*/ 23277 h 23361"/>
              <a:gd name="connsiteX3" fmla="*/ 0 w 10132"/>
              <a:gd name="connsiteY3" fmla="*/ 23361 h 23361"/>
              <a:gd name="connsiteX4" fmla="*/ 25 w 10132"/>
              <a:gd name="connsiteY4" fmla="*/ 4760 h 23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32" h="23361">
                <a:moveTo>
                  <a:pt x="25" y="4760"/>
                </a:moveTo>
                <a:lnTo>
                  <a:pt x="10115" y="0"/>
                </a:lnTo>
                <a:cubicBezTo>
                  <a:pt x="10130" y="4660"/>
                  <a:pt x="10117" y="18617"/>
                  <a:pt x="10132" y="23277"/>
                </a:cubicBezTo>
                <a:lnTo>
                  <a:pt x="0" y="23361"/>
                </a:lnTo>
                <a:cubicBezTo>
                  <a:pt x="47" y="20264"/>
                  <a:pt x="-22" y="7857"/>
                  <a:pt x="25" y="476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>
              <a:latin typeface="+mj-lt"/>
            </a:endParaRPr>
          </a:p>
        </p:txBody>
      </p:sp>
      <p:sp>
        <p:nvSpPr>
          <p:cNvPr id="6" name="流程图: 手动输入 1"/>
          <p:cNvSpPr/>
          <p:nvPr/>
        </p:nvSpPr>
        <p:spPr>
          <a:xfrm rot="5400000" flipH="1">
            <a:off x="327594" y="2231243"/>
            <a:ext cx="1345062" cy="2000249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D71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>
              <a:latin typeface="+mj-lt"/>
            </a:endParaRPr>
          </a:p>
        </p:txBody>
      </p:sp>
      <p:sp>
        <p:nvSpPr>
          <p:cNvPr id="7" name="文本框 7"/>
          <p:cNvSpPr txBox="1"/>
          <p:nvPr/>
        </p:nvSpPr>
        <p:spPr>
          <a:xfrm>
            <a:off x="501070" y="2833229"/>
            <a:ext cx="1707663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950" b="1" dirty="0">
                <a:solidFill>
                  <a:schemeClr val="bg1"/>
                </a:solidFill>
                <a:latin typeface="+mj-lt"/>
              </a:rPr>
              <a:t>4</a:t>
            </a:r>
            <a:endParaRPr lang="zh-CN" altLang="en-US" sz="495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文本框 10"/>
          <p:cNvSpPr txBox="1"/>
          <p:nvPr/>
        </p:nvSpPr>
        <p:spPr>
          <a:xfrm>
            <a:off x="1805629" y="2973462"/>
            <a:ext cx="58361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8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elf check</a:t>
            </a:r>
            <a:endParaRPr lang="en-US" altLang="zh-CN" sz="28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711329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4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14352" y="150662"/>
            <a:ext cx="4755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ower on &amp; off  </a:t>
            </a:r>
            <a:endParaRPr lang="en-US" altLang="zh-CN" sz="20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3" name="三辊闸杆子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574695" y="1040381"/>
            <a:ext cx="3038173" cy="1708973"/>
          </a:xfrm>
          <a:prstGeom prst="rect">
            <a:avLst/>
          </a:prstGeom>
        </p:spPr>
      </p:pic>
      <p:sp>
        <p:nvSpPr>
          <p:cNvPr id="4" name="文本框 3"/>
          <p:cNvSpPr txBox="1"/>
          <p:nvPr/>
        </p:nvSpPr>
        <p:spPr>
          <a:xfrm>
            <a:off x="488959" y="620487"/>
            <a:ext cx="7787966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 smtClean="0"/>
              <a:t>Power on the turnstile, wait a few seconds ,indicator turns green, device is ready </a:t>
            </a:r>
          </a:p>
          <a:p>
            <a:r>
              <a:rPr lang="en-US" altLang="zh-CN" dirty="0" smtClean="0"/>
              <a:t> </a:t>
            </a:r>
          </a:p>
          <a:p>
            <a:endParaRPr lang="zh-CN" altLang="en-US" dirty="0"/>
          </a:p>
        </p:txBody>
      </p:sp>
      <p:sp>
        <p:nvSpPr>
          <p:cNvPr id="5" name="文本框 4"/>
          <p:cNvSpPr txBox="1"/>
          <p:nvPr/>
        </p:nvSpPr>
        <p:spPr>
          <a:xfrm>
            <a:off x="3781797" y="1310093"/>
            <a:ext cx="457599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/>
              <a:t>You need to manually lift middle pole after power on</a:t>
            </a:r>
          </a:p>
          <a:p>
            <a:endParaRPr lang="zh-CN" altLang="en-US" sz="1600" dirty="0"/>
          </a:p>
        </p:txBody>
      </p:sp>
      <p:sp>
        <p:nvSpPr>
          <p:cNvPr id="6" name="文本框 5"/>
          <p:cNvSpPr txBox="1"/>
          <p:nvPr/>
        </p:nvSpPr>
        <p:spPr>
          <a:xfrm>
            <a:off x="3880710" y="3263040"/>
            <a:ext cx="41477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dirty="0" smtClean="0">
                <a:solidFill>
                  <a:srgbClr val="FF0000"/>
                </a:solidFill>
              </a:rPr>
              <a:t>Be care</a:t>
            </a:r>
            <a:r>
              <a:rPr lang="en-US" altLang="zh-CN" dirty="0">
                <a:solidFill>
                  <a:srgbClr val="FF0000"/>
                </a:solidFill>
              </a:rPr>
              <a:t>:</a:t>
            </a:r>
            <a:endParaRPr lang="en-US" altLang="zh-CN" dirty="0" smtClean="0">
              <a:solidFill>
                <a:srgbClr val="FF0000"/>
              </a:solidFill>
            </a:endParaRPr>
          </a:p>
          <a:p>
            <a:r>
              <a:rPr lang="en-US" altLang="zh-CN" dirty="0" smtClean="0"/>
              <a:t>when power off,  middle pole drops automatically, it might hit someone aside</a:t>
            </a:r>
            <a:endParaRPr lang="zh-CN" altLang="en-US" dirty="0"/>
          </a:p>
        </p:txBody>
      </p:sp>
      <p:pic>
        <p:nvPicPr>
          <p:cNvPr id="7" name="三辊闸关机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574695" y="2994205"/>
            <a:ext cx="3032544" cy="170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321870"/>
      </p:ext>
    </p:extLst>
  </p:cSld>
  <p:clrMapOvr>
    <a:masterClrMapping/>
  </p:clrMapOvr>
  <p:transition spd="slow">
    <p:pull/>
  </p:transition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7"/>
                  </p:tgtEl>
                </p:cond>
              </p:nextCondLst>
            </p:seq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4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14352" y="150662"/>
            <a:ext cx="47554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heck </a:t>
            </a:r>
            <a:r>
              <a:rPr lang="en-US" altLang="zh-CN" sz="2000" b="1" dirty="0" err="1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inMoe</a:t>
            </a:r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RS-485 status </a:t>
            </a:r>
            <a:endParaRPr lang="en-US" altLang="zh-CN" sz="20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752" y="805120"/>
            <a:ext cx="7824486" cy="2708694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330698" y="3808069"/>
            <a:ext cx="8133124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600" dirty="0" smtClean="0"/>
              <a:t>Go to </a:t>
            </a:r>
            <a:r>
              <a:rPr lang="en-US" altLang="zh-CN" sz="1600" b="1" dirty="0" smtClean="0"/>
              <a:t>Maintenance and Management</a:t>
            </a:r>
            <a:r>
              <a:rPr lang="en-US" altLang="zh-CN" sz="1600" dirty="0" smtClean="0"/>
              <a:t> , choose </a:t>
            </a:r>
            <a:r>
              <a:rPr lang="en-US" altLang="zh-CN" sz="1600" b="1" dirty="0" smtClean="0"/>
              <a:t>Device Status –Card Reader </a:t>
            </a:r>
            <a:r>
              <a:rPr lang="en-US" altLang="zh-CN" sz="1600" dirty="0" smtClean="0"/>
              <a:t>to check 485 status</a:t>
            </a:r>
          </a:p>
          <a:p>
            <a:r>
              <a:rPr lang="en-US" altLang="zh-CN" sz="1600" dirty="0" smtClean="0"/>
              <a:t>Reader 2 means entrance </a:t>
            </a:r>
            <a:r>
              <a:rPr lang="en-US" altLang="zh-CN" sz="1600" dirty="0" err="1" smtClean="0"/>
              <a:t>MinMoe</a:t>
            </a:r>
            <a:r>
              <a:rPr lang="en-US" altLang="zh-CN" sz="1600" dirty="0" smtClean="0"/>
              <a:t>; Reader 3 means exit </a:t>
            </a:r>
            <a:r>
              <a:rPr lang="en-US" altLang="zh-CN" sz="1600" dirty="0" err="1" smtClean="0"/>
              <a:t>Minmoe</a:t>
            </a:r>
            <a:endParaRPr lang="en-US" altLang="zh-CN" sz="1600" dirty="0" smtClean="0"/>
          </a:p>
          <a:p>
            <a:endParaRPr lang="en-US" altLang="zh-CN" sz="1600" dirty="0" smtClean="0"/>
          </a:p>
          <a:p>
            <a:r>
              <a:rPr lang="en-US" altLang="zh-CN" sz="1600" dirty="0" smtClean="0"/>
              <a:t>If offline, need to check RS-485 wiring and RS-485 configuration of </a:t>
            </a:r>
            <a:r>
              <a:rPr lang="en-US" altLang="zh-CN" sz="1600" dirty="0" err="1" smtClean="0"/>
              <a:t>Minmoe</a:t>
            </a:r>
            <a:r>
              <a:rPr lang="en-US" altLang="zh-CN" sz="1600" dirty="0" smtClean="0"/>
              <a:t> and Turnstile</a:t>
            </a:r>
            <a:endParaRPr lang="zh-CN" altLang="en-US" sz="1600" dirty="0"/>
          </a:p>
        </p:txBody>
      </p:sp>
    </p:spTree>
    <p:extLst>
      <p:ext uri="{BB962C8B-B14F-4D97-AF65-F5344CB8AC3E}">
        <p14:creationId xmlns:p14="http://schemas.microsoft.com/office/powerpoint/2010/main" val="777612810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图片 14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178" b="13222"/>
          <a:stretch/>
        </p:blipFill>
        <p:spPr>
          <a:xfrm>
            <a:off x="1653" y="-10886"/>
            <a:ext cx="9141550" cy="5157644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5730" r="7431"/>
          <a:stretch/>
        </p:blipFill>
        <p:spPr>
          <a:xfrm>
            <a:off x="455939" y="230448"/>
            <a:ext cx="1516536" cy="253063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090956" y="3017208"/>
            <a:ext cx="6601618" cy="1497428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700"/>
          <a:stretch/>
        </p:blipFill>
        <p:spPr>
          <a:xfrm flipV="1">
            <a:off x="1656" y="3017205"/>
            <a:ext cx="3246826" cy="1497428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7793"/>
          <a:stretch/>
        </p:blipFill>
        <p:spPr>
          <a:xfrm flipH="1">
            <a:off x="8692574" y="3017207"/>
            <a:ext cx="450629" cy="1497428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6526400" y="3301434"/>
            <a:ext cx="2166173" cy="830998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r>
              <a:rPr lang="en-US" altLang="zh-CN" sz="4800" b="1" dirty="0">
                <a:solidFill>
                  <a:prstClr val="black">
                    <a:lumMod val="75000"/>
                    <a:lumOff val="25000"/>
                  </a:prstClr>
                </a:solidFill>
                <a:latin typeface="Agency FB" panose="020B0503020202020204" pitchFamily="34" charset="0"/>
              </a:rPr>
              <a:t>THANKS !</a:t>
            </a:r>
            <a:endParaRPr lang="zh-CN" altLang="en-US" sz="4800" b="1" dirty="0">
              <a:solidFill>
                <a:prstClr val="black">
                  <a:lumMod val="75000"/>
                  <a:lumOff val="25000"/>
                </a:prstClr>
              </a:solidFill>
              <a:latin typeface="Agency FB" panose="020B0503020202020204" pitchFamily="34" charset="0"/>
            </a:endParaRPr>
          </a:p>
        </p:txBody>
      </p:sp>
      <p:sp>
        <p:nvSpPr>
          <p:cNvPr id="8" name="文本框 24"/>
          <p:cNvSpPr txBox="1"/>
          <p:nvPr/>
        </p:nvSpPr>
        <p:spPr>
          <a:xfrm>
            <a:off x="5166364" y="4091904"/>
            <a:ext cx="3753592" cy="346249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en-US" altLang="zh-CN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First Choice for Security Professionals </a:t>
            </a:r>
            <a:endParaRPr lang="zh-CN" altLang="en-US" b="1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438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400">
        <p14:doors dir="ver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1255"/>
            <a:ext cx="9144000" cy="5140990"/>
          </a:xfrm>
          <a:prstGeom prst="rect">
            <a:avLst/>
          </a:prstGeom>
        </p:spPr>
      </p:pic>
      <p:sp>
        <p:nvSpPr>
          <p:cNvPr id="5" name="流程图: 手动输入 1"/>
          <p:cNvSpPr/>
          <p:nvPr/>
        </p:nvSpPr>
        <p:spPr>
          <a:xfrm rot="5400000" flipV="1">
            <a:off x="2982600" y="288235"/>
            <a:ext cx="1343471" cy="5878286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  <a:gd name="connsiteX0" fmla="*/ 10 w 10144"/>
              <a:gd name="connsiteY0" fmla="*/ 4760 h 21913"/>
              <a:gd name="connsiteX1" fmla="*/ 10100 w 10144"/>
              <a:gd name="connsiteY1" fmla="*/ 0 h 21913"/>
              <a:gd name="connsiteX2" fmla="*/ 10144 w 10144"/>
              <a:gd name="connsiteY2" fmla="*/ 21913 h 21913"/>
              <a:gd name="connsiteX3" fmla="*/ 39 w 10144"/>
              <a:gd name="connsiteY3" fmla="*/ 13979 h 21913"/>
              <a:gd name="connsiteX4" fmla="*/ 10 w 10144"/>
              <a:gd name="connsiteY4" fmla="*/ 4760 h 21913"/>
              <a:gd name="connsiteX0" fmla="*/ 133 w 10267"/>
              <a:gd name="connsiteY0" fmla="*/ 4760 h 21997"/>
              <a:gd name="connsiteX1" fmla="*/ 10223 w 10267"/>
              <a:gd name="connsiteY1" fmla="*/ 0 h 21997"/>
              <a:gd name="connsiteX2" fmla="*/ 10267 w 10267"/>
              <a:gd name="connsiteY2" fmla="*/ 21913 h 21997"/>
              <a:gd name="connsiteX3" fmla="*/ 0 w 10267"/>
              <a:gd name="connsiteY3" fmla="*/ 21997 h 21997"/>
              <a:gd name="connsiteX4" fmla="*/ 133 w 10267"/>
              <a:gd name="connsiteY4" fmla="*/ 4760 h 21997"/>
              <a:gd name="connsiteX0" fmla="*/ 79 w 10213"/>
              <a:gd name="connsiteY0" fmla="*/ 4760 h 21913"/>
              <a:gd name="connsiteX1" fmla="*/ 10169 w 10213"/>
              <a:gd name="connsiteY1" fmla="*/ 0 h 21913"/>
              <a:gd name="connsiteX2" fmla="*/ 10213 w 10213"/>
              <a:gd name="connsiteY2" fmla="*/ 21913 h 21913"/>
              <a:gd name="connsiteX3" fmla="*/ 0 w 10213"/>
              <a:gd name="connsiteY3" fmla="*/ 21913 h 21913"/>
              <a:gd name="connsiteX4" fmla="*/ 79 w 10213"/>
              <a:gd name="connsiteY4" fmla="*/ 4760 h 21913"/>
              <a:gd name="connsiteX0" fmla="*/ 14 w 10148"/>
              <a:gd name="connsiteY0" fmla="*/ 4760 h 21934"/>
              <a:gd name="connsiteX1" fmla="*/ 10104 w 10148"/>
              <a:gd name="connsiteY1" fmla="*/ 0 h 21934"/>
              <a:gd name="connsiteX2" fmla="*/ 10148 w 10148"/>
              <a:gd name="connsiteY2" fmla="*/ 21913 h 21934"/>
              <a:gd name="connsiteX3" fmla="*/ 16 w 10148"/>
              <a:gd name="connsiteY3" fmla="*/ 21934 h 21934"/>
              <a:gd name="connsiteX4" fmla="*/ 14 w 10148"/>
              <a:gd name="connsiteY4" fmla="*/ 4760 h 21934"/>
              <a:gd name="connsiteX0" fmla="*/ 52 w 10186"/>
              <a:gd name="connsiteY0" fmla="*/ 4760 h 21913"/>
              <a:gd name="connsiteX1" fmla="*/ 10142 w 10186"/>
              <a:gd name="connsiteY1" fmla="*/ 0 h 21913"/>
              <a:gd name="connsiteX2" fmla="*/ 10186 w 10186"/>
              <a:gd name="connsiteY2" fmla="*/ 21913 h 21913"/>
              <a:gd name="connsiteX3" fmla="*/ 0 w 10186"/>
              <a:gd name="connsiteY3" fmla="*/ 21913 h 21913"/>
              <a:gd name="connsiteX4" fmla="*/ 52 w 10186"/>
              <a:gd name="connsiteY4" fmla="*/ 4760 h 21913"/>
              <a:gd name="connsiteX0" fmla="*/ 133 w 10267"/>
              <a:gd name="connsiteY0" fmla="*/ 4760 h 23487"/>
              <a:gd name="connsiteX1" fmla="*/ 10223 w 10267"/>
              <a:gd name="connsiteY1" fmla="*/ 0 h 23487"/>
              <a:gd name="connsiteX2" fmla="*/ 10267 w 10267"/>
              <a:gd name="connsiteY2" fmla="*/ 21913 h 23487"/>
              <a:gd name="connsiteX3" fmla="*/ 0 w 10267"/>
              <a:gd name="connsiteY3" fmla="*/ 23487 h 23487"/>
              <a:gd name="connsiteX4" fmla="*/ 133 w 10267"/>
              <a:gd name="connsiteY4" fmla="*/ 4760 h 23487"/>
              <a:gd name="connsiteX0" fmla="*/ 106 w 10240"/>
              <a:gd name="connsiteY0" fmla="*/ 4760 h 23487"/>
              <a:gd name="connsiteX1" fmla="*/ 10196 w 10240"/>
              <a:gd name="connsiteY1" fmla="*/ 0 h 23487"/>
              <a:gd name="connsiteX2" fmla="*/ 10240 w 10240"/>
              <a:gd name="connsiteY2" fmla="*/ 21913 h 23487"/>
              <a:gd name="connsiteX3" fmla="*/ 0 w 10240"/>
              <a:gd name="connsiteY3" fmla="*/ 23487 h 23487"/>
              <a:gd name="connsiteX4" fmla="*/ 106 w 10240"/>
              <a:gd name="connsiteY4" fmla="*/ 4760 h 23487"/>
              <a:gd name="connsiteX0" fmla="*/ 79 w 10213"/>
              <a:gd name="connsiteY0" fmla="*/ 4760 h 23424"/>
              <a:gd name="connsiteX1" fmla="*/ 10169 w 10213"/>
              <a:gd name="connsiteY1" fmla="*/ 0 h 23424"/>
              <a:gd name="connsiteX2" fmla="*/ 10213 w 10213"/>
              <a:gd name="connsiteY2" fmla="*/ 21913 h 23424"/>
              <a:gd name="connsiteX3" fmla="*/ 0 w 10213"/>
              <a:gd name="connsiteY3" fmla="*/ 23424 h 23424"/>
              <a:gd name="connsiteX4" fmla="*/ 79 w 10213"/>
              <a:gd name="connsiteY4" fmla="*/ 4760 h 23424"/>
              <a:gd name="connsiteX0" fmla="*/ 79 w 10186"/>
              <a:gd name="connsiteY0" fmla="*/ 4760 h 23424"/>
              <a:gd name="connsiteX1" fmla="*/ 10169 w 10186"/>
              <a:gd name="connsiteY1" fmla="*/ 0 h 23424"/>
              <a:gd name="connsiteX2" fmla="*/ 10186 w 10186"/>
              <a:gd name="connsiteY2" fmla="*/ 23277 h 23424"/>
              <a:gd name="connsiteX3" fmla="*/ 0 w 10186"/>
              <a:gd name="connsiteY3" fmla="*/ 23424 h 23424"/>
              <a:gd name="connsiteX4" fmla="*/ 79 w 10186"/>
              <a:gd name="connsiteY4" fmla="*/ 4760 h 23424"/>
              <a:gd name="connsiteX0" fmla="*/ 25 w 10132"/>
              <a:gd name="connsiteY0" fmla="*/ 4760 h 23361"/>
              <a:gd name="connsiteX1" fmla="*/ 10115 w 10132"/>
              <a:gd name="connsiteY1" fmla="*/ 0 h 23361"/>
              <a:gd name="connsiteX2" fmla="*/ 10132 w 10132"/>
              <a:gd name="connsiteY2" fmla="*/ 23277 h 23361"/>
              <a:gd name="connsiteX3" fmla="*/ 0 w 10132"/>
              <a:gd name="connsiteY3" fmla="*/ 23361 h 23361"/>
              <a:gd name="connsiteX4" fmla="*/ 25 w 10132"/>
              <a:gd name="connsiteY4" fmla="*/ 4760 h 23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32" h="23361">
                <a:moveTo>
                  <a:pt x="25" y="4760"/>
                </a:moveTo>
                <a:lnTo>
                  <a:pt x="10115" y="0"/>
                </a:lnTo>
                <a:cubicBezTo>
                  <a:pt x="10130" y="4660"/>
                  <a:pt x="10117" y="18617"/>
                  <a:pt x="10132" y="23277"/>
                </a:cubicBezTo>
                <a:lnTo>
                  <a:pt x="0" y="23361"/>
                </a:lnTo>
                <a:cubicBezTo>
                  <a:pt x="47" y="20264"/>
                  <a:pt x="-22" y="7857"/>
                  <a:pt x="25" y="476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>
              <a:latin typeface="+mj-lt"/>
            </a:endParaRPr>
          </a:p>
        </p:txBody>
      </p:sp>
      <p:sp>
        <p:nvSpPr>
          <p:cNvPr id="6" name="流程图: 手动输入 1"/>
          <p:cNvSpPr/>
          <p:nvPr/>
        </p:nvSpPr>
        <p:spPr>
          <a:xfrm rot="5400000" flipH="1">
            <a:off x="327594" y="2231243"/>
            <a:ext cx="1345062" cy="2000249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D71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>
              <a:latin typeface="+mj-lt"/>
            </a:endParaRPr>
          </a:p>
        </p:txBody>
      </p:sp>
      <p:sp>
        <p:nvSpPr>
          <p:cNvPr id="7" name="文本框 7"/>
          <p:cNvSpPr txBox="1"/>
          <p:nvPr/>
        </p:nvSpPr>
        <p:spPr>
          <a:xfrm>
            <a:off x="501070" y="2833229"/>
            <a:ext cx="1707663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950" b="1" dirty="0" smtClean="0">
                <a:solidFill>
                  <a:schemeClr val="bg1"/>
                </a:solidFill>
                <a:latin typeface="+mj-lt"/>
              </a:rPr>
              <a:t>1</a:t>
            </a:r>
            <a:endParaRPr lang="zh-CN" altLang="en-US" sz="495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文本框 10"/>
          <p:cNvSpPr txBox="1"/>
          <p:nvPr/>
        </p:nvSpPr>
        <p:spPr>
          <a:xfrm>
            <a:off x="1805629" y="2973462"/>
            <a:ext cx="58361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8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reparation</a:t>
            </a:r>
            <a:endParaRPr lang="en-US" altLang="zh-CN" sz="24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127239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1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78938" y="150662"/>
            <a:ext cx="37307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ite survey</a:t>
            </a:r>
          </a:p>
        </p:txBody>
      </p:sp>
      <p:sp>
        <p:nvSpPr>
          <p:cNvPr id="8" name="矩形 7"/>
          <p:cNvSpPr/>
          <p:nvPr/>
        </p:nvSpPr>
        <p:spPr>
          <a:xfrm>
            <a:off x="487160" y="525576"/>
            <a:ext cx="5736255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altLang="zh-CN" sz="1600" dirty="0" smtClean="0"/>
          </a:p>
          <a:p>
            <a:r>
              <a:rPr lang="en-US" altLang="zh-CN" sz="1600" dirty="0" smtClean="0"/>
              <a:t>1. The </a:t>
            </a:r>
            <a:r>
              <a:rPr lang="en-US" altLang="zh-CN" sz="1600" dirty="0"/>
              <a:t>barrier should be installed on the </a:t>
            </a:r>
            <a:r>
              <a:rPr lang="en-US" altLang="zh-CN" sz="1600" dirty="0" smtClean="0"/>
              <a:t>concrete or non-flammable ground</a:t>
            </a:r>
            <a:r>
              <a:rPr lang="en-US" altLang="zh-CN" sz="1600" dirty="0"/>
              <a:t>, please </a:t>
            </a:r>
            <a:r>
              <a:rPr lang="en-US" altLang="zh-CN" sz="1600" dirty="0" smtClean="0"/>
              <a:t>check site </a:t>
            </a:r>
            <a:r>
              <a:rPr lang="en-US" altLang="zh-CN" sz="1600" dirty="0"/>
              <a:t>situation to confirm whether can trench on the ground </a:t>
            </a:r>
            <a:r>
              <a:rPr lang="en-US" altLang="zh-CN" sz="1600" dirty="0" smtClean="0"/>
              <a:t>for interconnect and </a:t>
            </a:r>
            <a:r>
              <a:rPr lang="en-US" altLang="zh-CN" sz="1600" dirty="0"/>
              <a:t>network cables</a:t>
            </a:r>
            <a:r>
              <a:rPr lang="en-US" altLang="zh-CN" sz="1600" dirty="0" smtClean="0"/>
              <a:t>. If </a:t>
            </a:r>
            <a:r>
              <a:rPr lang="en-US" altLang="zh-CN" sz="1600" dirty="0"/>
              <a:t>not allowed, please purchase base for </a:t>
            </a:r>
            <a:r>
              <a:rPr lang="en-US" altLang="zh-CN" sz="1600" dirty="0" smtClean="0"/>
              <a:t>barriers</a:t>
            </a:r>
            <a:endParaRPr lang="en-US" altLang="zh-CN" sz="1600" dirty="0"/>
          </a:p>
          <a:p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en-US" altLang="zh-CN" dirty="0"/>
          </a:p>
          <a:p>
            <a:endParaRPr lang="en-US" altLang="zh-CN" dirty="0" smtClean="0"/>
          </a:p>
          <a:p>
            <a:endParaRPr lang="zh-CN" altLang="en-US" dirty="0"/>
          </a:p>
          <a:p>
            <a:r>
              <a:rPr lang="en-US" altLang="zh-CN" sz="1600" dirty="0" smtClean="0"/>
              <a:t>2. Ensure </a:t>
            </a:r>
            <a:r>
              <a:rPr lang="en-US" altLang="zh-CN" sz="1600" dirty="0"/>
              <a:t>the ground is </a:t>
            </a:r>
            <a:r>
              <a:rPr lang="en-US" altLang="zh-CN" sz="1600" dirty="0" smtClean="0"/>
              <a:t>smooth so that turnstile can work normally</a:t>
            </a:r>
            <a:endParaRPr lang="en-US" altLang="zh-CN" sz="160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03730" y="2034080"/>
            <a:ext cx="2623947" cy="1955583"/>
          </a:xfrm>
          <a:prstGeom prst="rect">
            <a:avLst/>
          </a:prstGeom>
        </p:spPr>
      </p:pic>
      <p:sp>
        <p:nvSpPr>
          <p:cNvPr id="9" name="文本框 8"/>
          <p:cNvSpPr txBox="1"/>
          <p:nvPr/>
        </p:nvSpPr>
        <p:spPr>
          <a:xfrm>
            <a:off x="1538005" y="3906888"/>
            <a:ext cx="215539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400" dirty="0"/>
              <a:t>Standard scenario example</a:t>
            </a:r>
            <a:endParaRPr lang="zh-CN" altLang="en-US" sz="1400" dirty="0"/>
          </a:p>
        </p:txBody>
      </p:sp>
      <p:sp>
        <p:nvSpPr>
          <p:cNvPr id="12" name="矩形 11"/>
          <p:cNvSpPr/>
          <p:nvPr/>
        </p:nvSpPr>
        <p:spPr>
          <a:xfrm>
            <a:off x="6439113" y="4517362"/>
            <a:ext cx="18473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zh-CN" altLang="en-US" sz="1400" dirty="0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067202" y="588010"/>
            <a:ext cx="1352550" cy="2105025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529185" y="531451"/>
            <a:ext cx="1181100" cy="2114550"/>
          </a:xfrm>
          <a:prstGeom prst="rect">
            <a:avLst/>
          </a:prstGeom>
        </p:spPr>
      </p:pic>
      <p:sp>
        <p:nvSpPr>
          <p:cNvPr id="21" name="矩形 20"/>
          <p:cNvSpPr/>
          <p:nvPr/>
        </p:nvSpPr>
        <p:spPr>
          <a:xfrm>
            <a:off x="6569060" y="2621659"/>
            <a:ext cx="118699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sz="1400" dirty="0" smtClean="0"/>
              <a:t>Base </a:t>
            </a:r>
            <a:r>
              <a:rPr lang="en-US" altLang="zh-CN" sz="1400" dirty="0"/>
              <a:t>example</a:t>
            </a:r>
            <a:endParaRPr lang="zh-CN" altLang="en-US" sz="1400" dirty="0"/>
          </a:p>
        </p:txBody>
      </p:sp>
    </p:spTree>
    <p:extLst>
      <p:ext uri="{BB962C8B-B14F-4D97-AF65-F5344CB8AC3E}">
        <p14:creationId xmlns:p14="http://schemas.microsoft.com/office/powerpoint/2010/main" val="4201792648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8988575" y="2917395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1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78938" y="150662"/>
            <a:ext cx="37307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Unboxing</a:t>
            </a:r>
          </a:p>
        </p:txBody>
      </p:sp>
      <p:sp>
        <p:nvSpPr>
          <p:cNvPr id="27" name="矩形 26"/>
          <p:cNvSpPr/>
          <p:nvPr/>
        </p:nvSpPr>
        <p:spPr>
          <a:xfrm>
            <a:off x="3074205" y="4670736"/>
            <a:ext cx="218157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en-US" sz="1200" dirty="0" smtClean="0"/>
              <a:t>Step 3. check entrance direction</a:t>
            </a:r>
            <a:endParaRPr lang="zh-CN" altLang="en-US" sz="1200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38426" y="3028954"/>
            <a:ext cx="2194619" cy="1638792"/>
          </a:xfrm>
          <a:prstGeom prst="rect">
            <a:avLst/>
          </a:prstGeom>
        </p:spPr>
      </p:pic>
      <p:pic>
        <p:nvPicPr>
          <p:cNvPr id="31" name="图片 3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56050" y="722127"/>
            <a:ext cx="2936416" cy="1644638"/>
          </a:xfrm>
          <a:prstGeom prst="rect">
            <a:avLst/>
          </a:prstGeom>
        </p:spPr>
      </p:pic>
      <p:sp>
        <p:nvSpPr>
          <p:cNvPr id="5" name="矩形 4"/>
          <p:cNvSpPr/>
          <p:nvPr/>
        </p:nvSpPr>
        <p:spPr>
          <a:xfrm>
            <a:off x="2286000" y="2248585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4837985" y="2603591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altLang="zh-CN" sz="1200" dirty="0" smtClean="0"/>
              <a:t>Step 2. Check accessories(the key and paper guide) </a:t>
            </a:r>
            <a:endParaRPr lang="zh-CN" altLang="en-US" sz="1200" dirty="0"/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6925" y="642418"/>
            <a:ext cx="1894866" cy="1975499"/>
          </a:xfrm>
          <a:prstGeom prst="rect">
            <a:avLst/>
          </a:prstGeom>
        </p:spPr>
      </p:pic>
      <p:sp>
        <p:nvSpPr>
          <p:cNvPr id="30" name="矩形 29"/>
          <p:cNvSpPr/>
          <p:nvPr/>
        </p:nvSpPr>
        <p:spPr>
          <a:xfrm>
            <a:off x="498100" y="2615384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en-US" altLang="zh-CN" sz="1200" dirty="0"/>
              <a:t>Step 1. Remove the package, foam protection and plastic film</a:t>
            </a:r>
            <a:endParaRPr lang="zh-CN" altLang="en-US" sz="1200" dirty="0"/>
          </a:p>
        </p:txBody>
      </p:sp>
      <p:grpSp>
        <p:nvGrpSpPr>
          <p:cNvPr id="37" name="组合 36"/>
          <p:cNvGrpSpPr/>
          <p:nvPr/>
        </p:nvGrpSpPr>
        <p:grpSpPr>
          <a:xfrm rot="16200000">
            <a:off x="3904936" y="1358719"/>
            <a:ext cx="434595" cy="556357"/>
            <a:chOff x="0" y="2398"/>
            <a:chExt cx="599154" cy="855934"/>
          </a:xfrm>
        </p:grpSpPr>
        <p:sp>
          <p:nvSpPr>
            <p:cNvPr id="38" name="燕尾形 37"/>
            <p:cNvSpPr/>
            <p:nvPr/>
          </p:nvSpPr>
          <p:spPr>
            <a:xfrm rot="5400000">
              <a:off x="-128390" y="130788"/>
              <a:ext cx="855934" cy="599153"/>
            </a:xfrm>
            <a:prstGeom prst="chevron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9" name="燕尾形 4"/>
            <p:cNvSpPr txBox="1"/>
            <p:nvPr/>
          </p:nvSpPr>
          <p:spPr>
            <a:xfrm>
              <a:off x="1" y="301975"/>
              <a:ext cx="599153" cy="2567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1600" kern="1200" dirty="0"/>
            </a:p>
          </p:txBody>
        </p:sp>
      </p:grpSp>
      <p:grpSp>
        <p:nvGrpSpPr>
          <p:cNvPr id="40" name="组合 39"/>
          <p:cNvGrpSpPr/>
          <p:nvPr/>
        </p:nvGrpSpPr>
        <p:grpSpPr>
          <a:xfrm rot="16200000">
            <a:off x="2181784" y="3659453"/>
            <a:ext cx="434595" cy="556357"/>
            <a:chOff x="0" y="2398"/>
            <a:chExt cx="599154" cy="855934"/>
          </a:xfrm>
        </p:grpSpPr>
        <p:sp>
          <p:nvSpPr>
            <p:cNvPr id="41" name="燕尾形 40"/>
            <p:cNvSpPr/>
            <p:nvPr/>
          </p:nvSpPr>
          <p:spPr>
            <a:xfrm rot="5400000">
              <a:off x="-128390" y="130788"/>
              <a:ext cx="855934" cy="599153"/>
            </a:xfrm>
            <a:prstGeom prst="chevron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燕尾形 4"/>
            <p:cNvSpPr txBox="1"/>
            <p:nvPr/>
          </p:nvSpPr>
          <p:spPr>
            <a:xfrm>
              <a:off x="1" y="301975"/>
              <a:ext cx="599153" cy="2567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1600" kern="1200" dirty="0"/>
            </a:p>
          </p:txBody>
        </p:sp>
      </p:grpSp>
      <p:sp>
        <p:nvSpPr>
          <p:cNvPr id="32" name="矩形 31"/>
          <p:cNvSpPr/>
          <p:nvPr/>
        </p:nvSpPr>
        <p:spPr>
          <a:xfrm>
            <a:off x="341885" y="150246"/>
            <a:ext cx="239168" cy="3488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ts val="2000"/>
              </a:lnSpc>
            </a:pPr>
            <a:r>
              <a:rPr lang="en-US" altLang="zh-CN" b="1" dirty="0">
                <a:solidFill>
                  <a:schemeClr val="bg1"/>
                </a:solidFill>
                <a:latin typeface="Agency FB" panose="020B0503020202020204" pitchFamily="34" charset="0"/>
              </a:rPr>
              <a:t>1</a:t>
            </a:r>
            <a:endParaRPr lang="zh-CN" altLang="en-US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1676790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2343" y="214231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1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78938" y="150662"/>
            <a:ext cx="37307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ystem wiring</a:t>
            </a: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0531" y="750019"/>
            <a:ext cx="2807958" cy="1593211"/>
          </a:xfrm>
          <a:prstGeom prst="rect">
            <a:avLst/>
          </a:prstGeom>
        </p:spPr>
      </p:pic>
      <p:sp>
        <p:nvSpPr>
          <p:cNvPr id="9" name="矩形 8"/>
          <p:cNvSpPr/>
          <p:nvPr/>
        </p:nvSpPr>
        <p:spPr>
          <a:xfrm>
            <a:off x="240957" y="2311644"/>
            <a:ext cx="34436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1200" dirty="0" smtClean="0"/>
              <a:t>Step 1. </a:t>
            </a:r>
            <a:r>
              <a:rPr lang="en-US" altLang="en-US" sz="1200" dirty="0" smtClean="0"/>
              <a:t>prepare </a:t>
            </a:r>
            <a:r>
              <a:rPr lang="en-US" altLang="en-US" sz="1200" dirty="0"/>
              <a:t>tool :conduit, ink marker ,cutting </a:t>
            </a:r>
            <a:r>
              <a:rPr lang="en-US" altLang="en-US" sz="1200" dirty="0" smtClean="0"/>
              <a:t>machine</a:t>
            </a:r>
            <a:r>
              <a:rPr lang="zh-CN" altLang="en-US" sz="1200" dirty="0" smtClean="0"/>
              <a:t>，</a:t>
            </a:r>
            <a:r>
              <a:rPr lang="en-US" altLang="zh-CN" sz="1200" dirty="0" smtClean="0"/>
              <a:t>network cable(CAT6 suggested),</a:t>
            </a:r>
          </a:p>
          <a:p>
            <a:pPr lvl="0"/>
            <a:r>
              <a:rPr lang="en-US" altLang="zh-CN" sz="1200" dirty="0" smtClean="0"/>
              <a:t>3-core power cable for 220V/110V AC power</a:t>
            </a:r>
            <a:endParaRPr lang="zh-CN" altLang="en-US" sz="1200" dirty="0"/>
          </a:p>
        </p:txBody>
      </p:sp>
      <p:grpSp>
        <p:nvGrpSpPr>
          <p:cNvPr id="10" name="组合 9"/>
          <p:cNvGrpSpPr/>
          <p:nvPr/>
        </p:nvGrpSpPr>
        <p:grpSpPr>
          <a:xfrm rot="16200000">
            <a:off x="3513778" y="1461968"/>
            <a:ext cx="434595" cy="556357"/>
            <a:chOff x="0" y="2398"/>
            <a:chExt cx="599154" cy="855934"/>
          </a:xfrm>
        </p:grpSpPr>
        <p:sp>
          <p:nvSpPr>
            <p:cNvPr id="11" name="燕尾形 10"/>
            <p:cNvSpPr/>
            <p:nvPr/>
          </p:nvSpPr>
          <p:spPr>
            <a:xfrm rot="5400000">
              <a:off x="-128390" y="130788"/>
              <a:ext cx="855934" cy="599153"/>
            </a:xfrm>
            <a:prstGeom prst="chevron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燕尾形 4"/>
            <p:cNvSpPr txBox="1"/>
            <p:nvPr/>
          </p:nvSpPr>
          <p:spPr>
            <a:xfrm>
              <a:off x="1" y="301975"/>
              <a:ext cx="599153" cy="2567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1600" kern="1200" dirty="0"/>
            </a:p>
          </p:txBody>
        </p:sp>
      </p:grpSp>
      <p:sp>
        <p:nvSpPr>
          <p:cNvPr id="13" name="矩形 12"/>
          <p:cNvSpPr/>
          <p:nvPr/>
        </p:nvSpPr>
        <p:spPr>
          <a:xfrm>
            <a:off x="4112702" y="2347317"/>
            <a:ext cx="37341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1200" dirty="0" smtClean="0"/>
              <a:t>Step 2.dig </a:t>
            </a:r>
            <a:r>
              <a:rPr lang="en-US" altLang="zh-CN" sz="1200" dirty="0"/>
              <a:t>grooves, bury cables(network cable, power </a:t>
            </a:r>
            <a:r>
              <a:rPr lang="en-US" altLang="zh-CN" sz="1200" dirty="0" smtClean="0"/>
              <a:t>cable in </a:t>
            </a:r>
            <a:r>
              <a:rPr lang="en-US" altLang="zh-CN" sz="1200" dirty="0" err="1" smtClean="0"/>
              <a:t>saperate</a:t>
            </a:r>
            <a:r>
              <a:rPr lang="en-US" altLang="zh-CN" sz="1200" dirty="0" smtClean="0"/>
              <a:t> conduit )</a:t>
            </a:r>
            <a:endParaRPr lang="zh-CN" altLang="en-US" sz="1200" dirty="0"/>
          </a:p>
        </p:txBody>
      </p:sp>
      <p:pic>
        <p:nvPicPr>
          <p:cNvPr id="14" name="图片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06671" y="681667"/>
            <a:ext cx="1516874" cy="1665650"/>
          </a:xfrm>
          <a:prstGeom prst="rect">
            <a:avLst/>
          </a:prstGeom>
        </p:spPr>
      </p:pic>
      <p:sp>
        <p:nvSpPr>
          <p:cNvPr id="15" name="矩形 14"/>
          <p:cNvSpPr/>
          <p:nvPr/>
        </p:nvSpPr>
        <p:spPr>
          <a:xfrm>
            <a:off x="340142" y="4434494"/>
            <a:ext cx="292150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zh-CN" sz="1200" smtClean="0"/>
              <a:t>Step 3. draw line for installing the pedestal and lay out the cable (</a:t>
            </a:r>
            <a:r>
              <a:rPr lang="en-US" altLang="zh-CN" sz="1200" smtClean="0">
                <a:solidFill>
                  <a:srgbClr val="FF0000"/>
                </a:solidFill>
              </a:rPr>
              <a:t>refer diagram of next page to draw line</a:t>
            </a:r>
            <a:r>
              <a:rPr lang="en-US" altLang="zh-CN" sz="1200" smtClean="0"/>
              <a:t>)</a:t>
            </a:r>
            <a:endParaRPr lang="zh-CN" altLang="en-US" sz="1200" dirty="0"/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531" y="2989426"/>
            <a:ext cx="2498473" cy="1407934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08120" y="2986386"/>
            <a:ext cx="1703627" cy="1498962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97133" y="2962856"/>
            <a:ext cx="2291203" cy="1512893"/>
          </a:xfrm>
          <a:prstGeom prst="rect">
            <a:avLst/>
          </a:prstGeom>
        </p:spPr>
      </p:pic>
      <p:grpSp>
        <p:nvGrpSpPr>
          <p:cNvPr id="19" name="组合 18"/>
          <p:cNvGrpSpPr/>
          <p:nvPr/>
        </p:nvGrpSpPr>
        <p:grpSpPr>
          <a:xfrm rot="16200000">
            <a:off x="3235599" y="3445078"/>
            <a:ext cx="434595" cy="556357"/>
            <a:chOff x="0" y="2398"/>
            <a:chExt cx="599154" cy="855934"/>
          </a:xfrm>
        </p:grpSpPr>
        <p:sp>
          <p:nvSpPr>
            <p:cNvPr id="20" name="燕尾形 19"/>
            <p:cNvSpPr/>
            <p:nvPr/>
          </p:nvSpPr>
          <p:spPr>
            <a:xfrm rot="5400000">
              <a:off x="-128390" y="130788"/>
              <a:ext cx="855934" cy="599153"/>
            </a:xfrm>
            <a:prstGeom prst="chevron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燕尾形 4"/>
            <p:cNvSpPr txBox="1"/>
            <p:nvPr/>
          </p:nvSpPr>
          <p:spPr>
            <a:xfrm>
              <a:off x="1" y="301975"/>
              <a:ext cx="599153" cy="2567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1600" kern="1200" dirty="0"/>
            </a:p>
          </p:txBody>
        </p:sp>
      </p:grpSp>
      <p:grpSp>
        <p:nvGrpSpPr>
          <p:cNvPr id="22" name="组合 21"/>
          <p:cNvGrpSpPr/>
          <p:nvPr/>
        </p:nvGrpSpPr>
        <p:grpSpPr>
          <a:xfrm rot="16200000">
            <a:off x="5759948" y="3441123"/>
            <a:ext cx="434595" cy="556357"/>
            <a:chOff x="0" y="2398"/>
            <a:chExt cx="599154" cy="855934"/>
          </a:xfrm>
        </p:grpSpPr>
        <p:sp>
          <p:nvSpPr>
            <p:cNvPr id="23" name="燕尾形 22"/>
            <p:cNvSpPr/>
            <p:nvPr/>
          </p:nvSpPr>
          <p:spPr>
            <a:xfrm rot="5400000">
              <a:off x="-128390" y="130788"/>
              <a:ext cx="855934" cy="599153"/>
            </a:xfrm>
            <a:prstGeom prst="chevron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燕尾形 4"/>
            <p:cNvSpPr txBox="1"/>
            <p:nvPr/>
          </p:nvSpPr>
          <p:spPr>
            <a:xfrm>
              <a:off x="1" y="301975"/>
              <a:ext cx="599153" cy="2567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1600" kern="1200" dirty="0"/>
            </a:p>
          </p:txBody>
        </p:sp>
      </p:grpSp>
      <p:sp>
        <p:nvSpPr>
          <p:cNvPr id="25" name="矩形 24"/>
          <p:cNvSpPr/>
          <p:nvPr/>
        </p:nvSpPr>
        <p:spPr>
          <a:xfrm>
            <a:off x="6258224" y="4485348"/>
            <a:ext cx="2371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en-US" sz="1200" dirty="0" smtClean="0"/>
              <a:t>Step 5.wiring </a:t>
            </a:r>
            <a:r>
              <a:rPr lang="en-US" altLang="en-US" sz="1200" dirty="0" err="1"/>
              <a:t>cables,bury</a:t>
            </a:r>
            <a:r>
              <a:rPr lang="en-US" altLang="en-US" sz="1200" dirty="0"/>
              <a:t> conduits and apply cement</a:t>
            </a:r>
            <a:endParaRPr lang="zh-CN" altLang="en-US" sz="1200" dirty="0"/>
          </a:p>
        </p:txBody>
      </p:sp>
      <p:pic>
        <p:nvPicPr>
          <p:cNvPr id="26" name="图片 2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49246" y="666865"/>
            <a:ext cx="1537461" cy="1673691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3783750" y="4487494"/>
            <a:ext cx="21627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altLang="en-US" sz="1200" dirty="0"/>
              <a:t>Step 4.cut the ground according to the lines drawn</a:t>
            </a:r>
            <a:endParaRPr lang="zh-CN" altLang="en-US" sz="1200" dirty="0"/>
          </a:p>
        </p:txBody>
      </p:sp>
    </p:spTree>
    <p:extLst>
      <p:ext uri="{BB962C8B-B14F-4D97-AF65-F5344CB8AC3E}">
        <p14:creationId xmlns:p14="http://schemas.microsoft.com/office/powerpoint/2010/main" val="1130966959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 smtClean="0">
                <a:solidFill>
                  <a:schemeClr val="bg1"/>
                </a:solidFill>
                <a:latin typeface="Agency FB" panose="020B0503020202020204" pitchFamily="34" charset="0"/>
              </a:rPr>
              <a:t>1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78938" y="150662"/>
            <a:ext cx="37307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System wiring</a:t>
            </a: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7450" y="997047"/>
            <a:ext cx="4356074" cy="2487532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77007" y="933385"/>
            <a:ext cx="3287571" cy="2551292"/>
          </a:xfrm>
          <a:prstGeom prst="rect">
            <a:avLst/>
          </a:prstGeom>
        </p:spPr>
      </p:pic>
      <p:graphicFrame>
        <p:nvGraphicFramePr>
          <p:cNvPr id="9" name="对象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06175788"/>
              </p:ext>
            </p:extLst>
          </p:nvPr>
        </p:nvGraphicFramePr>
        <p:xfrm>
          <a:off x="2190890" y="3962985"/>
          <a:ext cx="1784350" cy="3921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包装程序外壳对象" showAsIcon="1" r:id="rId6" imgW="1784520" imgH="392040" progId="Package">
                  <p:embed/>
                </p:oleObj>
              </mc:Choice>
              <mc:Fallback>
                <p:oleObj name="包装程序外壳对象" showAsIcon="1" r:id="rId6" imgW="1784520" imgH="392040" progId="Package">
                  <p:embed/>
                  <p:pic>
                    <p:nvPicPr>
                      <p:cNvPr id="2" name="对象 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90890" y="3962985"/>
                        <a:ext cx="1784350" cy="3921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41758651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1255"/>
            <a:ext cx="9144000" cy="5140990"/>
          </a:xfrm>
          <a:prstGeom prst="rect">
            <a:avLst/>
          </a:prstGeom>
        </p:spPr>
      </p:pic>
      <p:sp>
        <p:nvSpPr>
          <p:cNvPr id="5" name="流程图: 手动输入 1"/>
          <p:cNvSpPr/>
          <p:nvPr/>
        </p:nvSpPr>
        <p:spPr>
          <a:xfrm rot="5400000" flipV="1">
            <a:off x="2982600" y="288235"/>
            <a:ext cx="1343471" cy="5878286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  <a:gd name="connsiteX0" fmla="*/ 10 w 10144"/>
              <a:gd name="connsiteY0" fmla="*/ 4760 h 21913"/>
              <a:gd name="connsiteX1" fmla="*/ 10100 w 10144"/>
              <a:gd name="connsiteY1" fmla="*/ 0 h 21913"/>
              <a:gd name="connsiteX2" fmla="*/ 10144 w 10144"/>
              <a:gd name="connsiteY2" fmla="*/ 21913 h 21913"/>
              <a:gd name="connsiteX3" fmla="*/ 39 w 10144"/>
              <a:gd name="connsiteY3" fmla="*/ 13979 h 21913"/>
              <a:gd name="connsiteX4" fmla="*/ 10 w 10144"/>
              <a:gd name="connsiteY4" fmla="*/ 4760 h 21913"/>
              <a:gd name="connsiteX0" fmla="*/ 133 w 10267"/>
              <a:gd name="connsiteY0" fmla="*/ 4760 h 21997"/>
              <a:gd name="connsiteX1" fmla="*/ 10223 w 10267"/>
              <a:gd name="connsiteY1" fmla="*/ 0 h 21997"/>
              <a:gd name="connsiteX2" fmla="*/ 10267 w 10267"/>
              <a:gd name="connsiteY2" fmla="*/ 21913 h 21997"/>
              <a:gd name="connsiteX3" fmla="*/ 0 w 10267"/>
              <a:gd name="connsiteY3" fmla="*/ 21997 h 21997"/>
              <a:gd name="connsiteX4" fmla="*/ 133 w 10267"/>
              <a:gd name="connsiteY4" fmla="*/ 4760 h 21997"/>
              <a:gd name="connsiteX0" fmla="*/ 79 w 10213"/>
              <a:gd name="connsiteY0" fmla="*/ 4760 h 21913"/>
              <a:gd name="connsiteX1" fmla="*/ 10169 w 10213"/>
              <a:gd name="connsiteY1" fmla="*/ 0 h 21913"/>
              <a:gd name="connsiteX2" fmla="*/ 10213 w 10213"/>
              <a:gd name="connsiteY2" fmla="*/ 21913 h 21913"/>
              <a:gd name="connsiteX3" fmla="*/ 0 w 10213"/>
              <a:gd name="connsiteY3" fmla="*/ 21913 h 21913"/>
              <a:gd name="connsiteX4" fmla="*/ 79 w 10213"/>
              <a:gd name="connsiteY4" fmla="*/ 4760 h 21913"/>
              <a:gd name="connsiteX0" fmla="*/ 14 w 10148"/>
              <a:gd name="connsiteY0" fmla="*/ 4760 h 21934"/>
              <a:gd name="connsiteX1" fmla="*/ 10104 w 10148"/>
              <a:gd name="connsiteY1" fmla="*/ 0 h 21934"/>
              <a:gd name="connsiteX2" fmla="*/ 10148 w 10148"/>
              <a:gd name="connsiteY2" fmla="*/ 21913 h 21934"/>
              <a:gd name="connsiteX3" fmla="*/ 16 w 10148"/>
              <a:gd name="connsiteY3" fmla="*/ 21934 h 21934"/>
              <a:gd name="connsiteX4" fmla="*/ 14 w 10148"/>
              <a:gd name="connsiteY4" fmla="*/ 4760 h 21934"/>
              <a:gd name="connsiteX0" fmla="*/ 52 w 10186"/>
              <a:gd name="connsiteY0" fmla="*/ 4760 h 21913"/>
              <a:gd name="connsiteX1" fmla="*/ 10142 w 10186"/>
              <a:gd name="connsiteY1" fmla="*/ 0 h 21913"/>
              <a:gd name="connsiteX2" fmla="*/ 10186 w 10186"/>
              <a:gd name="connsiteY2" fmla="*/ 21913 h 21913"/>
              <a:gd name="connsiteX3" fmla="*/ 0 w 10186"/>
              <a:gd name="connsiteY3" fmla="*/ 21913 h 21913"/>
              <a:gd name="connsiteX4" fmla="*/ 52 w 10186"/>
              <a:gd name="connsiteY4" fmla="*/ 4760 h 21913"/>
              <a:gd name="connsiteX0" fmla="*/ 133 w 10267"/>
              <a:gd name="connsiteY0" fmla="*/ 4760 h 23487"/>
              <a:gd name="connsiteX1" fmla="*/ 10223 w 10267"/>
              <a:gd name="connsiteY1" fmla="*/ 0 h 23487"/>
              <a:gd name="connsiteX2" fmla="*/ 10267 w 10267"/>
              <a:gd name="connsiteY2" fmla="*/ 21913 h 23487"/>
              <a:gd name="connsiteX3" fmla="*/ 0 w 10267"/>
              <a:gd name="connsiteY3" fmla="*/ 23487 h 23487"/>
              <a:gd name="connsiteX4" fmla="*/ 133 w 10267"/>
              <a:gd name="connsiteY4" fmla="*/ 4760 h 23487"/>
              <a:gd name="connsiteX0" fmla="*/ 106 w 10240"/>
              <a:gd name="connsiteY0" fmla="*/ 4760 h 23487"/>
              <a:gd name="connsiteX1" fmla="*/ 10196 w 10240"/>
              <a:gd name="connsiteY1" fmla="*/ 0 h 23487"/>
              <a:gd name="connsiteX2" fmla="*/ 10240 w 10240"/>
              <a:gd name="connsiteY2" fmla="*/ 21913 h 23487"/>
              <a:gd name="connsiteX3" fmla="*/ 0 w 10240"/>
              <a:gd name="connsiteY3" fmla="*/ 23487 h 23487"/>
              <a:gd name="connsiteX4" fmla="*/ 106 w 10240"/>
              <a:gd name="connsiteY4" fmla="*/ 4760 h 23487"/>
              <a:gd name="connsiteX0" fmla="*/ 79 w 10213"/>
              <a:gd name="connsiteY0" fmla="*/ 4760 h 23424"/>
              <a:gd name="connsiteX1" fmla="*/ 10169 w 10213"/>
              <a:gd name="connsiteY1" fmla="*/ 0 h 23424"/>
              <a:gd name="connsiteX2" fmla="*/ 10213 w 10213"/>
              <a:gd name="connsiteY2" fmla="*/ 21913 h 23424"/>
              <a:gd name="connsiteX3" fmla="*/ 0 w 10213"/>
              <a:gd name="connsiteY3" fmla="*/ 23424 h 23424"/>
              <a:gd name="connsiteX4" fmla="*/ 79 w 10213"/>
              <a:gd name="connsiteY4" fmla="*/ 4760 h 23424"/>
              <a:gd name="connsiteX0" fmla="*/ 79 w 10186"/>
              <a:gd name="connsiteY0" fmla="*/ 4760 h 23424"/>
              <a:gd name="connsiteX1" fmla="*/ 10169 w 10186"/>
              <a:gd name="connsiteY1" fmla="*/ 0 h 23424"/>
              <a:gd name="connsiteX2" fmla="*/ 10186 w 10186"/>
              <a:gd name="connsiteY2" fmla="*/ 23277 h 23424"/>
              <a:gd name="connsiteX3" fmla="*/ 0 w 10186"/>
              <a:gd name="connsiteY3" fmla="*/ 23424 h 23424"/>
              <a:gd name="connsiteX4" fmla="*/ 79 w 10186"/>
              <a:gd name="connsiteY4" fmla="*/ 4760 h 23424"/>
              <a:gd name="connsiteX0" fmla="*/ 25 w 10132"/>
              <a:gd name="connsiteY0" fmla="*/ 4760 h 23361"/>
              <a:gd name="connsiteX1" fmla="*/ 10115 w 10132"/>
              <a:gd name="connsiteY1" fmla="*/ 0 h 23361"/>
              <a:gd name="connsiteX2" fmla="*/ 10132 w 10132"/>
              <a:gd name="connsiteY2" fmla="*/ 23277 h 23361"/>
              <a:gd name="connsiteX3" fmla="*/ 0 w 10132"/>
              <a:gd name="connsiteY3" fmla="*/ 23361 h 23361"/>
              <a:gd name="connsiteX4" fmla="*/ 25 w 10132"/>
              <a:gd name="connsiteY4" fmla="*/ 4760 h 23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32" h="23361">
                <a:moveTo>
                  <a:pt x="25" y="4760"/>
                </a:moveTo>
                <a:lnTo>
                  <a:pt x="10115" y="0"/>
                </a:lnTo>
                <a:cubicBezTo>
                  <a:pt x="10130" y="4660"/>
                  <a:pt x="10117" y="18617"/>
                  <a:pt x="10132" y="23277"/>
                </a:cubicBezTo>
                <a:lnTo>
                  <a:pt x="0" y="23361"/>
                </a:lnTo>
                <a:cubicBezTo>
                  <a:pt x="47" y="20264"/>
                  <a:pt x="-22" y="7857"/>
                  <a:pt x="25" y="4760"/>
                </a:cubicBezTo>
                <a:close/>
              </a:path>
            </a:pathLst>
          </a:custGeom>
          <a:solidFill>
            <a:schemeClr val="bg1">
              <a:alpha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>
              <a:latin typeface="+mj-lt"/>
            </a:endParaRPr>
          </a:p>
        </p:txBody>
      </p:sp>
      <p:sp>
        <p:nvSpPr>
          <p:cNvPr id="6" name="流程图: 手动输入 1"/>
          <p:cNvSpPr/>
          <p:nvPr/>
        </p:nvSpPr>
        <p:spPr>
          <a:xfrm rot="5400000" flipH="1">
            <a:off x="327594" y="2231243"/>
            <a:ext cx="1345062" cy="2000249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D719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sz="1350">
              <a:latin typeface="+mj-lt"/>
            </a:endParaRPr>
          </a:p>
        </p:txBody>
      </p:sp>
      <p:sp>
        <p:nvSpPr>
          <p:cNvPr id="7" name="文本框 7"/>
          <p:cNvSpPr txBox="1"/>
          <p:nvPr/>
        </p:nvSpPr>
        <p:spPr>
          <a:xfrm>
            <a:off x="501070" y="2833229"/>
            <a:ext cx="1707663" cy="8540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4950" b="1" dirty="0" smtClean="0">
                <a:solidFill>
                  <a:schemeClr val="bg1"/>
                </a:solidFill>
                <a:latin typeface="+mj-lt"/>
              </a:rPr>
              <a:t>2</a:t>
            </a:r>
            <a:endParaRPr lang="zh-CN" altLang="en-US" sz="495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8" name="文本框 10"/>
          <p:cNvSpPr txBox="1"/>
          <p:nvPr/>
        </p:nvSpPr>
        <p:spPr>
          <a:xfrm>
            <a:off x="1818666" y="2980911"/>
            <a:ext cx="58361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8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stallation</a:t>
            </a:r>
            <a:endParaRPr lang="en-US" altLang="zh-CN" sz="28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26632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流程图: 手动输入 1"/>
          <p:cNvSpPr/>
          <p:nvPr/>
        </p:nvSpPr>
        <p:spPr>
          <a:xfrm rot="5400000" flipH="1">
            <a:off x="386147" y="-241257"/>
            <a:ext cx="403850" cy="1141565"/>
          </a:xfrm>
          <a:custGeom>
            <a:avLst/>
            <a:gdLst>
              <a:gd name="connsiteX0" fmla="*/ 0 w 10000"/>
              <a:gd name="connsiteY0" fmla="*/ 2000 h 10000"/>
              <a:gd name="connsiteX1" fmla="*/ 10000 w 10000"/>
              <a:gd name="connsiteY1" fmla="*/ 0 h 10000"/>
              <a:gd name="connsiteX2" fmla="*/ 10000 w 10000"/>
              <a:gd name="connsiteY2" fmla="*/ 10000 h 10000"/>
              <a:gd name="connsiteX3" fmla="*/ 0 w 10000"/>
              <a:gd name="connsiteY3" fmla="*/ 10000 h 10000"/>
              <a:gd name="connsiteX4" fmla="*/ 0 w 10000"/>
              <a:gd name="connsiteY4" fmla="*/ 2000 h 10000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0000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40 w 10140"/>
              <a:gd name="connsiteY0" fmla="*/ 2000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140 w 10140"/>
              <a:gd name="connsiteY4" fmla="*/ 2000 h 11291"/>
              <a:gd name="connsiteX0" fmla="*/ 13 w 10153"/>
              <a:gd name="connsiteY0" fmla="*/ 2072 h 11291"/>
              <a:gd name="connsiteX1" fmla="*/ 10153 w 10153"/>
              <a:gd name="connsiteY1" fmla="*/ 0 h 11291"/>
              <a:gd name="connsiteX2" fmla="*/ 10153 w 10153"/>
              <a:gd name="connsiteY2" fmla="*/ 11291 h 11291"/>
              <a:gd name="connsiteX3" fmla="*/ 13 w 10153"/>
              <a:gd name="connsiteY3" fmla="*/ 11291 h 11291"/>
              <a:gd name="connsiteX4" fmla="*/ 13 w 10153"/>
              <a:gd name="connsiteY4" fmla="*/ 2072 h 11291"/>
              <a:gd name="connsiteX0" fmla="*/ 93 w 10140"/>
              <a:gd name="connsiteY0" fmla="*/ 2072 h 11291"/>
              <a:gd name="connsiteX1" fmla="*/ 10140 w 10140"/>
              <a:gd name="connsiteY1" fmla="*/ 0 h 11291"/>
              <a:gd name="connsiteX2" fmla="*/ 10140 w 10140"/>
              <a:gd name="connsiteY2" fmla="*/ 11291 h 11291"/>
              <a:gd name="connsiteX3" fmla="*/ 0 w 10140"/>
              <a:gd name="connsiteY3" fmla="*/ 11291 h 11291"/>
              <a:gd name="connsiteX4" fmla="*/ 93 w 10140"/>
              <a:gd name="connsiteY4" fmla="*/ 2072 h 11291"/>
              <a:gd name="connsiteX0" fmla="*/ 13 w 10060"/>
              <a:gd name="connsiteY0" fmla="*/ 2072 h 11291"/>
              <a:gd name="connsiteX1" fmla="*/ 10060 w 10060"/>
              <a:gd name="connsiteY1" fmla="*/ 0 h 11291"/>
              <a:gd name="connsiteX2" fmla="*/ 10060 w 10060"/>
              <a:gd name="connsiteY2" fmla="*/ 11291 h 11291"/>
              <a:gd name="connsiteX3" fmla="*/ 25 w 10060"/>
              <a:gd name="connsiteY3" fmla="*/ 11264 h 11291"/>
              <a:gd name="connsiteX4" fmla="*/ 13 w 10060"/>
              <a:gd name="connsiteY4" fmla="*/ 2072 h 11291"/>
              <a:gd name="connsiteX0" fmla="*/ 13 w 10060"/>
              <a:gd name="connsiteY0" fmla="*/ 2072 h 11345"/>
              <a:gd name="connsiteX1" fmla="*/ 10060 w 10060"/>
              <a:gd name="connsiteY1" fmla="*/ 0 h 11345"/>
              <a:gd name="connsiteX2" fmla="*/ 10060 w 10060"/>
              <a:gd name="connsiteY2" fmla="*/ 11291 h 11345"/>
              <a:gd name="connsiteX3" fmla="*/ 25 w 10060"/>
              <a:gd name="connsiteY3" fmla="*/ 11345 h 11345"/>
              <a:gd name="connsiteX4" fmla="*/ 13 w 10060"/>
              <a:gd name="connsiteY4" fmla="*/ 2072 h 11345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10 w 10057"/>
              <a:gd name="connsiteY0" fmla="*/ 2072 h 11291"/>
              <a:gd name="connsiteX1" fmla="*/ 10057 w 10057"/>
              <a:gd name="connsiteY1" fmla="*/ 0 h 11291"/>
              <a:gd name="connsiteX2" fmla="*/ 10057 w 10057"/>
              <a:gd name="connsiteY2" fmla="*/ 11291 h 11291"/>
              <a:gd name="connsiteX3" fmla="*/ 57 w 10057"/>
              <a:gd name="connsiteY3" fmla="*/ 11264 h 11291"/>
              <a:gd name="connsiteX4" fmla="*/ 10 w 10057"/>
              <a:gd name="connsiteY4" fmla="*/ 2072 h 11291"/>
              <a:gd name="connsiteX0" fmla="*/ 58 w 10105"/>
              <a:gd name="connsiteY0" fmla="*/ 2072 h 11291"/>
              <a:gd name="connsiteX1" fmla="*/ 10105 w 10105"/>
              <a:gd name="connsiteY1" fmla="*/ 0 h 11291"/>
              <a:gd name="connsiteX2" fmla="*/ 10105 w 10105"/>
              <a:gd name="connsiteY2" fmla="*/ 11291 h 11291"/>
              <a:gd name="connsiteX3" fmla="*/ 0 w 10105"/>
              <a:gd name="connsiteY3" fmla="*/ 11291 h 11291"/>
              <a:gd name="connsiteX4" fmla="*/ 58 w 10105"/>
              <a:gd name="connsiteY4" fmla="*/ 2072 h 11291"/>
              <a:gd name="connsiteX0" fmla="*/ 58 w 10105"/>
              <a:gd name="connsiteY0" fmla="*/ 4760 h 13979"/>
              <a:gd name="connsiteX1" fmla="*/ 10061 w 10105"/>
              <a:gd name="connsiteY1" fmla="*/ 0 h 13979"/>
              <a:gd name="connsiteX2" fmla="*/ 10105 w 10105"/>
              <a:gd name="connsiteY2" fmla="*/ 13979 h 13979"/>
              <a:gd name="connsiteX3" fmla="*/ 0 w 10105"/>
              <a:gd name="connsiteY3" fmla="*/ 13979 h 13979"/>
              <a:gd name="connsiteX4" fmla="*/ 58 w 10105"/>
              <a:gd name="connsiteY4" fmla="*/ 4760 h 13979"/>
              <a:gd name="connsiteX0" fmla="*/ 10 w 10144"/>
              <a:gd name="connsiteY0" fmla="*/ 4760 h 13979"/>
              <a:gd name="connsiteX1" fmla="*/ 10100 w 10144"/>
              <a:gd name="connsiteY1" fmla="*/ 0 h 13979"/>
              <a:gd name="connsiteX2" fmla="*/ 10144 w 10144"/>
              <a:gd name="connsiteY2" fmla="*/ 13979 h 13979"/>
              <a:gd name="connsiteX3" fmla="*/ 39 w 10144"/>
              <a:gd name="connsiteY3" fmla="*/ 13979 h 13979"/>
              <a:gd name="connsiteX4" fmla="*/ 10 w 10144"/>
              <a:gd name="connsiteY4" fmla="*/ 4760 h 139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44" h="13979">
                <a:moveTo>
                  <a:pt x="10" y="4760"/>
                </a:moveTo>
                <a:lnTo>
                  <a:pt x="10100" y="0"/>
                </a:lnTo>
                <a:cubicBezTo>
                  <a:pt x="10115" y="4660"/>
                  <a:pt x="10129" y="9319"/>
                  <a:pt x="10144" y="13979"/>
                </a:cubicBezTo>
                <a:lnTo>
                  <a:pt x="39" y="13979"/>
                </a:lnTo>
                <a:cubicBezTo>
                  <a:pt x="86" y="10882"/>
                  <a:pt x="-37" y="7857"/>
                  <a:pt x="10" y="4760"/>
                </a:cubicBezTo>
                <a:close/>
              </a:path>
            </a:pathLst>
          </a:cu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/>
          </a:p>
        </p:txBody>
      </p:sp>
      <p:sp>
        <p:nvSpPr>
          <p:cNvPr id="55" name="平行四边形 13"/>
          <p:cNvSpPr/>
          <p:nvPr/>
        </p:nvSpPr>
        <p:spPr>
          <a:xfrm>
            <a:off x="816368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6" name="平行四边形 13"/>
          <p:cNvSpPr/>
          <p:nvPr/>
        </p:nvSpPr>
        <p:spPr>
          <a:xfrm>
            <a:off x="966387" y="127600"/>
            <a:ext cx="477874" cy="403851"/>
          </a:xfrm>
          <a:custGeom>
            <a:avLst/>
            <a:gdLst>
              <a:gd name="connsiteX0" fmla="*/ 0 w 123825"/>
              <a:gd name="connsiteY0" fmla="*/ 556004 h 556004"/>
              <a:gd name="connsiteX1" fmla="*/ 23812 w 123825"/>
              <a:gd name="connsiteY1" fmla="*/ 0 h 556004"/>
              <a:gd name="connsiteX2" fmla="*/ 123825 w 123825"/>
              <a:gd name="connsiteY2" fmla="*/ 0 h 556004"/>
              <a:gd name="connsiteX3" fmla="*/ 100013 w 123825"/>
              <a:gd name="connsiteY3" fmla="*/ 556004 h 556004"/>
              <a:gd name="connsiteX4" fmla="*/ 0 w 123825"/>
              <a:gd name="connsiteY4" fmla="*/ 556004 h 556004"/>
              <a:gd name="connsiteX0" fmla="*/ 0 w 631032"/>
              <a:gd name="connsiteY0" fmla="*/ 532191 h 556004"/>
              <a:gd name="connsiteX1" fmla="*/ 531019 w 631032"/>
              <a:gd name="connsiteY1" fmla="*/ 0 h 556004"/>
              <a:gd name="connsiteX2" fmla="*/ 631032 w 631032"/>
              <a:gd name="connsiteY2" fmla="*/ 0 h 556004"/>
              <a:gd name="connsiteX3" fmla="*/ 607220 w 631032"/>
              <a:gd name="connsiteY3" fmla="*/ 556004 h 556004"/>
              <a:gd name="connsiteX4" fmla="*/ 0 w 631032"/>
              <a:gd name="connsiteY4" fmla="*/ 532191 h 556004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7158 w 631032"/>
              <a:gd name="connsiteY3" fmla="*/ 534573 h 534573"/>
              <a:gd name="connsiteX4" fmla="*/ 0 w 631032"/>
              <a:gd name="connsiteY4" fmla="*/ 532191 h 534573"/>
              <a:gd name="connsiteX0" fmla="*/ 0 w 631032"/>
              <a:gd name="connsiteY0" fmla="*/ 532191 h 534573"/>
              <a:gd name="connsiteX1" fmla="*/ 531019 w 631032"/>
              <a:gd name="connsiteY1" fmla="*/ 0 h 534573"/>
              <a:gd name="connsiteX2" fmla="*/ 631032 w 631032"/>
              <a:gd name="connsiteY2" fmla="*/ 0 h 534573"/>
              <a:gd name="connsiteX3" fmla="*/ 100015 w 631032"/>
              <a:gd name="connsiteY3" fmla="*/ 534573 h 534573"/>
              <a:gd name="connsiteX4" fmla="*/ 0 w 631032"/>
              <a:gd name="connsiteY4" fmla="*/ 532191 h 534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1032" h="534573">
                <a:moveTo>
                  <a:pt x="0" y="532191"/>
                </a:moveTo>
                <a:lnTo>
                  <a:pt x="531019" y="0"/>
                </a:lnTo>
                <a:lnTo>
                  <a:pt x="631032" y="0"/>
                </a:lnTo>
                <a:lnTo>
                  <a:pt x="100015" y="534573"/>
                </a:lnTo>
                <a:lnTo>
                  <a:pt x="0" y="532191"/>
                </a:lnTo>
                <a:close/>
              </a:path>
            </a:pathLst>
          </a:custGeom>
          <a:solidFill>
            <a:srgbClr val="5959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7" name="文本框 2"/>
          <p:cNvSpPr txBox="1"/>
          <p:nvPr/>
        </p:nvSpPr>
        <p:spPr>
          <a:xfrm>
            <a:off x="-137149" y="211404"/>
            <a:ext cx="1219803" cy="358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2000"/>
              </a:lnSpc>
            </a:pPr>
            <a:r>
              <a:rPr lang="en-US" altLang="zh-CN" sz="2800" b="1" dirty="0">
                <a:solidFill>
                  <a:schemeClr val="bg1"/>
                </a:solidFill>
                <a:latin typeface="Agency FB" panose="020B0503020202020204" pitchFamily="34" charset="0"/>
              </a:rPr>
              <a:t>2</a:t>
            </a:r>
            <a:endParaRPr lang="zh-CN" altLang="en-US" sz="2800" b="1" dirty="0">
              <a:solidFill>
                <a:schemeClr val="bg1"/>
              </a:solidFill>
              <a:latin typeface="Agency FB" panose="020B0503020202020204" pitchFamily="34" charset="0"/>
            </a:endParaRPr>
          </a:p>
        </p:txBody>
      </p:sp>
      <p:sp>
        <p:nvSpPr>
          <p:cNvPr id="58" name="文本框 94"/>
          <p:cNvSpPr txBox="1"/>
          <p:nvPr/>
        </p:nvSpPr>
        <p:spPr>
          <a:xfrm>
            <a:off x="1378937" y="150662"/>
            <a:ext cx="515171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83"/>
            <a:r>
              <a:rPr lang="en-US" altLang="zh-CN" sz="2000" b="1" dirty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Disassemble </a:t>
            </a:r>
            <a:r>
              <a:rPr lang="en-US" altLang="zh-CN" sz="2000" b="1" dirty="0" smtClean="0">
                <a:solidFill>
                  <a:srgbClr val="D7192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urnstile-I</a:t>
            </a:r>
            <a:endParaRPr lang="en-US" altLang="zh-CN" sz="2000" b="1" dirty="0">
              <a:solidFill>
                <a:srgbClr val="D7192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0633" y="1115996"/>
            <a:ext cx="2804432" cy="2096704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2860" y="1145586"/>
            <a:ext cx="2756152" cy="2067114"/>
          </a:xfrm>
          <a:prstGeom prst="rect">
            <a:avLst/>
          </a:prstGeom>
        </p:spPr>
      </p:pic>
      <p:sp>
        <p:nvSpPr>
          <p:cNvPr id="3" name="文本框 2"/>
          <p:cNvSpPr txBox="1"/>
          <p:nvPr/>
        </p:nvSpPr>
        <p:spPr>
          <a:xfrm>
            <a:off x="4172757" y="3591930"/>
            <a:ext cx="477741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200" dirty="0" smtClean="0"/>
              <a:t>1.Open side lane cover by key to connect AC power and network cable </a:t>
            </a:r>
            <a:r>
              <a:rPr lang="en-US" altLang="zh-CN" sz="1200" dirty="0" err="1" smtClean="0"/>
              <a:t>through.Then</a:t>
            </a:r>
            <a:r>
              <a:rPr lang="en-US" altLang="zh-CN" sz="1200" dirty="0" smtClean="0"/>
              <a:t> fix the turnstile with expansion screw</a:t>
            </a:r>
          </a:p>
          <a:p>
            <a:r>
              <a:rPr lang="en-US" altLang="zh-CN" sz="1200" dirty="0" smtClean="0"/>
              <a:t>2. Unscrew the upper cover plate with </a:t>
            </a:r>
            <a:r>
              <a:rPr lang="en-US" altLang="zh-CN" sz="1200" dirty="0"/>
              <a:t>A</a:t>
            </a:r>
            <a:r>
              <a:rPr lang="en-US" altLang="zh-CN" sz="1200" dirty="0" smtClean="0"/>
              <a:t>llen key inside package, open the upper cover plate to connect </a:t>
            </a:r>
            <a:r>
              <a:rPr lang="en-US" altLang="zh-CN" sz="1200" dirty="0" err="1" smtClean="0"/>
              <a:t>MinMoe’s</a:t>
            </a:r>
            <a:r>
              <a:rPr lang="en-US" altLang="zh-CN" sz="1200" dirty="0" smtClean="0"/>
              <a:t> power, RS-485 cable and network cable </a:t>
            </a:r>
            <a:endParaRPr lang="zh-CN" altLang="en-US" sz="1200" dirty="0"/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5939" y="3344747"/>
            <a:ext cx="1405996" cy="1325365"/>
          </a:xfrm>
          <a:prstGeom prst="rect">
            <a:avLst/>
          </a:prstGeom>
        </p:spPr>
      </p:pic>
      <p:grpSp>
        <p:nvGrpSpPr>
          <p:cNvPr id="12" name="组合 11"/>
          <p:cNvGrpSpPr/>
          <p:nvPr/>
        </p:nvGrpSpPr>
        <p:grpSpPr>
          <a:xfrm rot="16200000">
            <a:off x="3875411" y="1627554"/>
            <a:ext cx="434595" cy="556357"/>
            <a:chOff x="0" y="2398"/>
            <a:chExt cx="599154" cy="855934"/>
          </a:xfrm>
        </p:grpSpPr>
        <p:sp>
          <p:nvSpPr>
            <p:cNvPr id="13" name="燕尾形 12"/>
            <p:cNvSpPr/>
            <p:nvPr/>
          </p:nvSpPr>
          <p:spPr>
            <a:xfrm rot="5400000">
              <a:off x="-128390" y="130788"/>
              <a:ext cx="855934" cy="599153"/>
            </a:xfrm>
            <a:prstGeom prst="chevron">
              <a:avLst/>
            </a:prstGeom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燕尾形 4"/>
            <p:cNvSpPr txBox="1"/>
            <p:nvPr/>
          </p:nvSpPr>
          <p:spPr>
            <a:xfrm>
              <a:off x="1" y="301975"/>
              <a:ext cx="599153" cy="25678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160" tIns="10160" rIns="10160" bIns="10160" numCol="1" spcCol="1270" anchor="ctr" anchorCtr="0">
              <a:noAutofit/>
            </a:bodyPr>
            <a:lstStyle/>
            <a:p>
              <a:pPr lvl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zh-CN" altLang="en-US" sz="1600" kern="1200" dirty="0"/>
            </a:p>
          </p:txBody>
        </p:sp>
      </p:grpSp>
      <p:pic>
        <p:nvPicPr>
          <p:cNvPr id="15" name="图片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66172" y="3316709"/>
            <a:ext cx="1337788" cy="13814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9751166"/>
      </p:ext>
    </p:extLst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mW247poUK3Q0wNEaGD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LU_sSKEkqMjoj5tlSL5A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lnDef>
      <a:spPr>
        <a:noFill/>
        <a:ln w="12700" cap="flat" cmpd="sng" algn="ctr">
          <a:solidFill>
            <a:schemeClr val="tx1"/>
          </a:solidFill>
          <a:prstDash val="solid"/>
        </a:ln>
        <a:effectLst/>
      </a:spPr>
      <a:bodyPr/>
      <a:lstStyle/>
    </a:lnDef>
  </a:objectDefaults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121</TotalTime>
  <Words>1051</Words>
  <Application>Microsoft Office PowerPoint</Application>
  <PresentationFormat>全屏显示(16:9)</PresentationFormat>
  <Paragraphs>191</Paragraphs>
  <Slides>29</Slides>
  <Notes>21</Notes>
  <HiddenSlides>0</HiddenSlides>
  <MMClips>2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9</vt:i4>
      </vt:variant>
    </vt:vector>
  </HeadingPairs>
  <TitlesOfParts>
    <vt:vector size="41" baseType="lpstr">
      <vt:lpstr>CordiaUPC</vt:lpstr>
      <vt:lpstr>Simplified Arabic Fixed</vt:lpstr>
      <vt:lpstr>等线</vt:lpstr>
      <vt:lpstr>宋体</vt:lpstr>
      <vt:lpstr>微软雅黑</vt:lpstr>
      <vt:lpstr>Agency FB</vt:lpstr>
      <vt:lpstr>Arial</vt:lpstr>
      <vt:lpstr>Calibri</vt:lpstr>
      <vt:lpstr>TSTAR PRO Light</vt:lpstr>
      <vt:lpstr>Wingdings</vt:lpstr>
      <vt:lpstr>Office 主题​​</vt:lpstr>
      <vt:lpstr>包装程序外壳对象</vt:lpstr>
      <vt:lpstr> Turnstile installation guide 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MAIN TITLE</dc:title>
  <dc:creator>hechaoyang@hikvision.com</dc:creator>
  <cp:lastModifiedBy>Derek.Xu</cp:lastModifiedBy>
  <cp:revision>2118</cp:revision>
  <dcterms:created xsi:type="dcterms:W3CDTF">2015-10-30T08:11:55Z</dcterms:created>
  <dcterms:modified xsi:type="dcterms:W3CDTF">2023-04-10T02:46:25Z</dcterms:modified>
</cp:coreProperties>
</file>